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  <p:sldMasterId id="2147483708" r:id="rId5"/>
    <p:sldMasterId id="2147483731" r:id="rId6"/>
    <p:sldMasterId id="2147483758" r:id="rId7"/>
  </p:sldMasterIdLst>
  <p:notesMasterIdLst>
    <p:notesMasterId r:id="rId16"/>
  </p:notesMasterIdLst>
  <p:sldIdLst>
    <p:sldId id="336" r:id="rId8"/>
    <p:sldId id="2147481365" r:id="rId9"/>
    <p:sldId id="2147481409" r:id="rId10"/>
    <p:sldId id="2147481394" r:id="rId11"/>
    <p:sldId id="2147481403" r:id="rId12"/>
    <p:sldId id="2147481395" r:id="rId13"/>
    <p:sldId id="2147481367" r:id="rId14"/>
    <p:sldId id="2147481368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80D311-76A4-F9CF-D393-C59354D7A8CB}" name="Ostler, Jane (MBLBL)" initials="O(" userId="S::jane.ostler@kantar.com::2f161659-b0a2-48e1-a6ac-93f257d9d605" providerId="AD"/>
  <p188:author id="{852A4067-D6A6-4815-70AD-9F041DA96B55}" name="Jones, Emma (MBWAR cs)" initials="" userId="S::emma.jones@kantar.com::907d945e-080d-4679-85cb-4a33f6c89ec8" providerId="AD"/>
  <p188:author id="{8B1D3F84-48CF-EBDA-4989-752DE480665E}" name="Alagon, Jorge (TSMMH)" initials="JA" userId="S::jorge.alagon@kantar.com::98dbcf8a-56d9-45b4-9752-5a548b8a93d1" providerId="AD"/>
  <p188:author id="{404960B9-1450-277F-2594-504CA0925B6B}" name="Ross-Gower, Nick (KT)" initials="RGN(" userId="S::Nick.Ross-Gower@kantar.com::8f5116d3-78eb-4d14-a9d6-07bca6d63d9f" providerId="AD"/>
  <p188:author id="{A36358E0-9D11-B93B-5AEB-1B0FD20F4FC4}" name="Wade, Robert (EPLWG)" initials="W(" userId="S::robert.wade@kantar.com::e3acc324-3f32-43e7-b861-601e2ad20de0" providerId="AD"/>
  <p188:author id="{E7C0D9EA-44F6-301E-ACDB-041E4A7B3666}" name="Ross-Gower, Nick (KT)" initials="R(" userId="S::nick.ross-gower@kantar.com::8f5116d3-78eb-4d14-a9d6-07bca6d63d9f" providerId="AD"/>
  <p188:author id="{261C62EE-43E2-BF3B-5C8A-FB3559174D3F}" name="Conor McLarnon" initials="CM" userId="S::conor.mclarnon@axicom.com::42ffee8e-594a-4d27-a772-0c678b1b5b36" providerId="AD"/>
  <p188:author id="{9056DBF6-0617-E00B-E691-700D202F752A}" name="Struan Murray" initials="SM" userId="S::struan.murray@axicom.com::5d22c91c-f3e3-47e3-b498-372e9ffecbcc" providerId="AD"/>
  <p188:author id="{1DD65EFD-15BA-D077-6ECF-E8FEABEF461A}" name="Staplehurst, Graham  (MBWAR SCM)" initials="SG(S" userId="S::Graham.Staplehurst@kantar.com::754776e3-8391-4555-a014-3f48f2e0b7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7377"/>
    <a:srgbClr val="F27206"/>
    <a:srgbClr val="FEA800"/>
    <a:srgbClr val="EA7600"/>
    <a:srgbClr val="A6093D"/>
    <a:srgbClr val="00608F"/>
    <a:srgbClr val="E2EFDA"/>
    <a:srgbClr val="FCE4D6"/>
    <a:srgbClr val="0274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776B4E-2DA0-417C-986E-47B41CDDAB82}" v="25" dt="2024-05-14T08:51:19.362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ladu, Madalin (MBBUC)" userId="7096a0a8-34cc-4131-8016-43226e017ace" providerId="ADAL" clId="{9A776B4E-2DA0-417C-986E-47B41CDDAB82}"/>
    <pc:docChg chg="undo redo custSel addSld delSld modSld sldOrd">
      <pc:chgData name="Vladu, Madalin (MBBUC)" userId="7096a0a8-34cc-4131-8016-43226e017ace" providerId="ADAL" clId="{9A776B4E-2DA0-417C-986E-47B41CDDAB82}" dt="2024-05-14T08:54:42.139" v="1821" actId="20577"/>
      <pc:docMkLst>
        <pc:docMk/>
      </pc:docMkLst>
      <pc:sldChg chg="addSp delSp modSp mod">
        <pc:chgData name="Vladu, Madalin (MBBUC)" userId="7096a0a8-34cc-4131-8016-43226e017ace" providerId="ADAL" clId="{9A776B4E-2DA0-417C-986E-47B41CDDAB82}" dt="2024-05-14T08:08:51.734" v="10" actId="478"/>
        <pc:sldMkLst>
          <pc:docMk/>
          <pc:sldMk cId="2330779324" sldId="336"/>
        </pc:sldMkLst>
        <pc:spChg chg="add del mod">
          <ac:chgData name="Vladu, Madalin (MBBUC)" userId="7096a0a8-34cc-4131-8016-43226e017ace" providerId="ADAL" clId="{9A776B4E-2DA0-417C-986E-47B41CDDAB82}" dt="2024-05-14T08:08:45.254" v="8" actId="478"/>
          <ac:spMkLst>
            <pc:docMk/>
            <pc:sldMk cId="2330779324" sldId="336"/>
            <ac:spMk id="3" creationId="{DAABDDB5-23B5-C005-3301-3390AC3E5005}"/>
          </ac:spMkLst>
        </pc:spChg>
        <pc:spChg chg="add del mod">
          <ac:chgData name="Vladu, Madalin (MBBUC)" userId="7096a0a8-34cc-4131-8016-43226e017ace" providerId="ADAL" clId="{9A776B4E-2DA0-417C-986E-47B41CDDAB82}" dt="2024-05-14T08:08:51.734" v="10" actId="478"/>
          <ac:spMkLst>
            <pc:docMk/>
            <pc:sldMk cId="2330779324" sldId="336"/>
            <ac:spMk id="5" creationId="{2E75EBA1-C9BC-593E-46F7-BFFF1A8881B0}"/>
          </ac:spMkLst>
        </pc:spChg>
        <pc:spChg chg="del">
          <ac:chgData name="Vladu, Madalin (MBBUC)" userId="7096a0a8-34cc-4131-8016-43226e017ace" providerId="ADAL" clId="{9A776B4E-2DA0-417C-986E-47B41CDDAB82}" dt="2024-05-14T08:08:48.404" v="9" actId="478"/>
          <ac:spMkLst>
            <pc:docMk/>
            <pc:sldMk cId="2330779324" sldId="336"/>
            <ac:spMk id="8" creationId="{52006C36-84FE-281B-1533-9B9E42575BC6}"/>
          </ac:spMkLst>
        </pc:spChg>
        <pc:spChg chg="add del mod">
          <ac:chgData name="Vladu, Madalin (MBBUC)" userId="7096a0a8-34cc-4131-8016-43226e017ace" providerId="ADAL" clId="{9A776B4E-2DA0-417C-986E-47B41CDDAB82}" dt="2024-05-14T08:08:45.254" v="8" actId="478"/>
          <ac:spMkLst>
            <pc:docMk/>
            <pc:sldMk cId="2330779324" sldId="336"/>
            <ac:spMk id="12" creationId="{F7A78B68-C434-564D-BC61-54572718D950}"/>
          </ac:spMkLst>
        </pc:spChg>
      </pc:sldChg>
      <pc:sldChg chg="modSp mod">
        <pc:chgData name="Vladu, Madalin (MBBUC)" userId="7096a0a8-34cc-4131-8016-43226e017ace" providerId="ADAL" clId="{9A776B4E-2DA0-417C-986E-47B41CDDAB82}" dt="2024-05-14T08:09:05.607" v="12" actId="1076"/>
        <pc:sldMkLst>
          <pc:docMk/>
          <pc:sldMk cId="2195523354" sldId="2147481365"/>
        </pc:sldMkLst>
        <pc:picChg chg="mod">
          <ac:chgData name="Vladu, Madalin (MBBUC)" userId="7096a0a8-34cc-4131-8016-43226e017ace" providerId="ADAL" clId="{9A776B4E-2DA0-417C-986E-47B41CDDAB82}" dt="2024-05-14T08:09:05.607" v="12" actId="1076"/>
          <ac:picMkLst>
            <pc:docMk/>
            <pc:sldMk cId="2195523354" sldId="2147481365"/>
            <ac:picMk id="8" creationId="{266EDC55-5491-79CF-9086-9C759636E8AF}"/>
          </ac:picMkLst>
        </pc:picChg>
      </pc:sldChg>
      <pc:sldChg chg="delSp modSp mod">
        <pc:chgData name="Vladu, Madalin (MBBUC)" userId="7096a0a8-34cc-4131-8016-43226e017ace" providerId="ADAL" clId="{9A776B4E-2DA0-417C-986E-47B41CDDAB82}" dt="2024-05-14T08:54:22.170" v="1809" actId="20577"/>
        <pc:sldMkLst>
          <pc:docMk/>
          <pc:sldMk cId="1127524546" sldId="2147481367"/>
        </pc:sldMkLst>
        <pc:spChg chg="mod">
          <ac:chgData name="Vladu, Madalin (MBBUC)" userId="7096a0a8-34cc-4131-8016-43226e017ace" providerId="ADAL" clId="{9A776B4E-2DA0-417C-986E-47B41CDDAB82}" dt="2024-05-14T08:54:22.170" v="1809" actId="20577"/>
          <ac:spMkLst>
            <pc:docMk/>
            <pc:sldMk cId="1127524546" sldId="2147481367"/>
            <ac:spMk id="2" creationId="{15A4B2A3-998A-A4B8-5D37-BA098B009766}"/>
          </ac:spMkLst>
        </pc:spChg>
        <pc:spChg chg="mod">
          <ac:chgData name="Vladu, Madalin (MBBUC)" userId="7096a0a8-34cc-4131-8016-43226e017ace" providerId="ADAL" clId="{9A776B4E-2DA0-417C-986E-47B41CDDAB82}" dt="2024-05-14T08:44:56.885" v="1428" actId="113"/>
          <ac:spMkLst>
            <pc:docMk/>
            <pc:sldMk cId="1127524546" sldId="2147481367"/>
            <ac:spMk id="6" creationId="{4F8B2707-50FE-583A-10B8-B8B6759E9C06}"/>
          </ac:spMkLst>
        </pc:spChg>
        <pc:spChg chg="mod">
          <ac:chgData name="Vladu, Madalin (MBBUC)" userId="7096a0a8-34cc-4131-8016-43226e017ace" providerId="ADAL" clId="{9A776B4E-2DA0-417C-986E-47B41CDDAB82}" dt="2024-05-14T08:42:34.079" v="1379" actId="6549"/>
          <ac:spMkLst>
            <pc:docMk/>
            <pc:sldMk cId="1127524546" sldId="2147481367"/>
            <ac:spMk id="7" creationId="{B27C611C-D836-0949-DE71-13DB9F6E7D86}"/>
          </ac:spMkLst>
        </pc:spChg>
        <pc:spChg chg="del">
          <ac:chgData name="Vladu, Madalin (MBBUC)" userId="7096a0a8-34cc-4131-8016-43226e017ace" providerId="ADAL" clId="{9A776B4E-2DA0-417C-986E-47B41CDDAB82}" dt="2024-05-14T08:40:55.052" v="1313" actId="478"/>
          <ac:spMkLst>
            <pc:docMk/>
            <pc:sldMk cId="1127524546" sldId="2147481367"/>
            <ac:spMk id="10" creationId="{B1CE7D82-E09F-1152-723D-BA5BCFA99941}"/>
          </ac:spMkLst>
        </pc:spChg>
        <pc:spChg chg="mod">
          <ac:chgData name="Vladu, Madalin (MBBUC)" userId="7096a0a8-34cc-4131-8016-43226e017ace" providerId="ADAL" clId="{9A776B4E-2DA0-417C-986E-47B41CDDAB82}" dt="2024-05-14T08:44:21.814" v="1419" actId="6549"/>
          <ac:spMkLst>
            <pc:docMk/>
            <pc:sldMk cId="1127524546" sldId="2147481367"/>
            <ac:spMk id="12" creationId="{7483D028-0380-5F6E-97A3-FC34E8D247F1}"/>
          </ac:spMkLst>
        </pc:spChg>
      </pc:sldChg>
      <pc:sldChg chg="delSp modSp mod">
        <pc:chgData name="Vladu, Madalin (MBBUC)" userId="7096a0a8-34cc-4131-8016-43226e017ace" providerId="ADAL" clId="{9A776B4E-2DA0-417C-986E-47B41CDDAB82}" dt="2024-05-14T08:54:09.082" v="1803" actId="20577"/>
        <pc:sldMkLst>
          <pc:docMk/>
          <pc:sldMk cId="590893588" sldId="2147481368"/>
        </pc:sldMkLst>
        <pc:spChg chg="mod">
          <ac:chgData name="Vladu, Madalin (MBBUC)" userId="7096a0a8-34cc-4131-8016-43226e017ace" providerId="ADAL" clId="{9A776B4E-2DA0-417C-986E-47B41CDDAB82}" dt="2024-05-14T08:54:09.082" v="1803" actId="20577"/>
          <ac:spMkLst>
            <pc:docMk/>
            <pc:sldMk cId="590893588" sldId="2147481368"/>
            <ac:spMk id="2" creationId="{15A4B2A3-998A-A4B8-5D37-BA098B009766}"/>
          </ac:spMkLst>
        </pc:spChg>
        <pc:spChg chg="mod">
          <ac:chgData name="Vladu, Madalin (MBBUC)" userId="7096a0a8-34cc-4131-8016-43226e017ace" providerId="ADAL" clId="{9A776B4E-2DA0-417C-986E-47B41CDDAB82}" dt="2024-05-14T08:53:50.066" v="1792" actId="20577"/>
          <ac:spMkLst>
            <pc:docMk/>
            <pc:sldMk cId="590893588" sldId="2147481368"/>
            <ac:spMk id="6" creationId="{4F8B2707-50FE-583A-10B8-B8B6759E9C06}"/>
          </ac:spMkLst>
        </pc:spChg>
        <pc:spChg chg="mod">
          <ac:chgData name="Vladu, Madalin (MBBUC)" userId="7096a0a8-34cc-4131-8016-43226e017ace" providerId="ADAL" clId="{9A776B4E-2DA0-417C-986E-47B41CDDAB82}" dt="2024-05-14T08:45:45.066" v="1470" actId="20577"/>
          <ac:spMkLst>
            <pc:docMk/>
            <pc:sldMk cId="590893588" sldId="2147481368"/>
            <ac:spMk id="7" creationId="{B27C611C-D836-0949-DE71-13DB9F6E7D86}"/>
          </ac:spMkLst>
        </pc:spChg>
        <pc:spChg chg="del">
          <ac:chgData name="Vladu, Madalin (MBBUC)" userId="7096a0a8-34cc-4131-8016-43226e017ace" providerId="ADAL" clId="{9A776B4E-2DA0-417C-986E-47B41CDDAB82}" dt="2024-05-14T08:45:04.845" v="1429" actId="478"/>
          <ac:spMkLst>
            <pc:docMk/>
            <pc:sldMk cId="590893588" sldId="2147481368"/>
            <ac:spMk id="10" creationId="{756F636F-A099-AF43-21B7-D980BF2A1D1D}"/>
          </ac:spMkLst>
        </pc:spChg>
        <pc:spChg chg="mod">
          <ac:chgData name="Vladu, Madalin (MBBUC)" userId="7096a0a8-34cc-4131-8016-43226e017ace" providerId="ADAL" clId="{9A776B4E-2DA0-417C-986E-47B41CDDAB82}" dt="2024-05-14T08:52:48.532" v="1749" actId="20577"/>
          <ac:spMkLst>
            <pc:docMk/>
            <pc:sldMk cId="590893588" sldId="2147481368"/>
            <ac:spMk id="11" creationId="{4C106E61-5FF1-479D-D6F7-654A1B577D29}"/>
          </ac:spMkLst>
        </pc:spChg>
        <pc:spChg chg="mod">
          <ac:chgData name="Vladu, Madalin (MBBUC)" userId="7096a0a8-34cc-4131-8016-43226e017ace" providerId="ADAL" clId="{9A776B4E-2DA0-417C-986E-47B41CDDAB82}" dt="2024-05-14T08:49:42.276" v="1643" actId="6549"/>
          <ac:spMkLst>
            <pc:docMk/>
            <pc:sldMk cId="590893588" sldId="2147481368"/>
            <ac:spMk id="13" creationId="{DCC24385-0EAA-FB7B-A3D9-B0B599AE64AF}"/>
          </ac:spMkLst>
        </pc:spChg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3783653101" sldId="2147481382"/>
        </pc:sldMkLst>
      </pc:sldChg>
      <pc:sldChg chg="del">
        <pc:chgData name="Vladu, Madalin (MBBUC)" userId="7096a0a8-34cc-4131-8016-43226e017ace" providerId="ADAL" clId="{9A776B4E-2DA0-417C-986E-47B41CDDAB82}" dt="2024-05-14T08:10:32.557" v="37" actId="47"/>
        <pc:sldMkLst>
          <pc:docMk/>
          <pc:sldMk cId="432176802" sldId="2147481385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3072651892" sldId="2147481391"/>
        </pc:sldMkLst>
      </pc:sldChg>
      <pc:sldChg chg="del">
        <pc:chgData name="Vladu, Madalin (MBBUC)" userId="7096a0a8-34cc-4131-8016-43226e017ace" providerId="ADAL" clId="{9A776B4E-2DA0-417C-986E-47B41CDDAB82}" dt="2024-05-14T08:10:32.557" v="37" actId="47"/>
        <pc:sldMkLst>
          <pc:docMk/>
          <pc:sldMk cId="2500211226" sldId="2147481393"/>
        </pc:sldMkLst>
      </pc:sldChg>
      <pc:sldChg chg="delSp modSp mod">
        <pc:chgData name="Vladu, Madalin (MBBUC)" userId="7096a0a8-34cc-4131-8016-43226e017ace" providerId="ADAL" clId="{9A776B4E-2DA0-417C-986E-47B41CDDAB82}" dt="2024-05-14T08:26:06.067" v="630" actId="207"/>
        <pc:sldMkLst>
          <pc:docMk/>
          <pc:sldMk cId="2470227072" sldId="2147481394"/>
        </pc:sldMkLst>
        <pc:spChg chg="mod">
          <ac:chgData name="Vladu, Madalin (MBBUC)" userId="7096a0a8-34cc-4131-8016-43226e017ace" providerId="ADAL" clId="{9A776B4E-2DA0-417C-986E-47B41CDDAB82}" dt="2024-05-14T08:26:06.067" v="630" actId="207"/>
          <ac:spMkLst>
            <pc:docMk/>
            <pc:sldMk cId="2470227072" sldId="2147481394"/>
            <ac:spMk id="2" creationId="{15A4B2A3-998A-A4B8-5D37-BA098B009766}"/>
          </ac:spMkLst>
        </pc:spChg>
        <pc:spChg chg="mod">
          <ac:chgData name="Vladu, Madalin (MBBUC)" userId="7096a0a8-34cc-4131-8016-43226e017ace" providerId="ADAL" clId="{9A776B4E-2DA0-417C-986E-47B41CDDAB82}" dt="2024-05-14T08:19:51.137" v="375" actId="108"/>
          <ac:spMkLst>
            <pc:docMk/>
            <pc:sldMk cId="2470227072" sldId="2147481394"/>
            <ac:spMk id="4" creationId="{C4FC0071-BC6F-E634-9D7B-972CB0EBC382}"/>
          </ac:spMkLst>
        </pc:spChg>
        <pc:spChg chg="mod">
          <ac:chgData name="Vladu, Madalin (MBBUC)" userId="7096a0a8-34cc-4131-8016-43226e017ace" providerId="ADAL" clId="{9A776B4E-2DA0-417C-986E-47B41CDDAB82}" dt="2024-05-14T08:25:10.933" v="616" actId="20577"/>
          <ac:spMkLst>
            <pc:docMk/>
            <pc:sldMk cId="2470227072" sldId="2147481394"/>
            <ac:spMk id="5" creationId="{99204484-E7E7-D95B-FA1C-D66CCC17DA7E}"/>
          </ac:spMkLst>
        </pc:spChg>
        <pc:spChg chg="mod">
          <ac:chgData name="Vladu, Madalin (MBBUC)" userId="7096a0a8-34cc-4131-8016-43226e017ace" providerId="ADAL" clId="{9A776B4E-2DA0-417C-986E-47B41CDDAB82}" dt="2024-05-14T08:20:43.033" v="396" actId="20577"/>
          <ac:spMkLst>
            <pc:docMk/>
            <pc:sldMk cId="2470227072" sldId="2147481394"/>
            <ac:spMk id="8" creationId="{A67DF1C2-5F1F-0B9B-C09C-077998C83FA4}"/>
          </ac:spMkLst>
        </pc:spChg>
        <pc:spChg chg="del">
          <ac:chgData name="Vladu, Madalin (MBBUC)" userId="7096a0a8-34cc-4131-8016-43226e017ace" providerId="ADAL" clId="{9A776B4E-2DA0-417C-986E-47B41CDDAB82}" dt="2024-05-14T08:19:26.362" v="372" actId="478"/>
          <ac:spMkLst>
            <pc:docMk/>
            <pc:sldMk cId="2470227072" sldId="2147481394"/>
            <ac:spMk id="30" creationId="{BE99984D-DEBF-74F3-8471-4EA6DDF9ABF2}"/>
          </ac:spMkLst>
        </pc:spChg>
      </pc:sldChg>
      <pc:sldChg chg="addSp delSp modSp mod">
        <pc:chgData name="Vladu, Madalin (MBBUC)" userId="7096a0a8-34cc-4131-8016-43226e017ace" providerId="ADAL" clId="{9A776B4E-2DA0-417C-986E-47B41CDDAB82}" dt="2024-05-14T08:54:42.139" v="1821" actId="20577"/>
        <pc:sldMkLst>
          <pc:docMk/>
          <pc:sldMk cId="2263060086" sldId="2147481395"/>
        </pc:sldMkLst>
        <pc:spChg chg="mod">
          <ac:chgData name="Vladu, Madalin (MBBUC)" userId="7096a0a8-34cc-4131-8016-43226e017ace" providerId="ADAL" clId="{9A776B4E-2DA0-417C-986E-47B41CDDAB82}" dt="2024-05-14T08:54:42.139" v="1821" actId="20577"/>
          <ac:spMkLst>
            <pc:docMk/>
            <pc:sldMk cId="2263060086" sldId="2147481395"/>
            <ac:spMk id="2" creationId="{15A4B2A3-998A-A4B8-5D37-BA098B009766}"/>
          </ac:spMkLst>
        </pc:spChg>
        <pc:spChg chg="add 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3" creationId="{3BC2A949-272A-4AEE-F068-74B96FE8DB0E}"/>
          </ac:spMkLst>
        </pc:spChg>
        <pc:spChg chg="add 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5" creationId="{CD96AA8B-4C9E-52CC-C85D-3015E9ADD6B4}"/>
          </ac:spMkLst>
        </pc:spChg>
        <pc:spChg chg="mod">
          <ac:chgData name="Vladu, Madalin (MBBUC)" userId="7096a0a8-34cc-4131-8016-43226e017ace" providerId="ADAL" clId="{9A776B4E-2DA0-417C-986E-47B41CDDAB82}" dt="2024-05-14T08:30:11.169" v="764" actId="114"/>
          <ac:spMkLst>
            <pc:docMk/>
            <pc:sldMk cId="2263060086" sldId="2147481395"/>
            <ac:spMk id="7" creationId="{B27C611C-D836-0949-DE71-13DB9F6E7D86}"/>
          </ac:spMkLst>
        </pc:spChg>
        <pc:spChg chg="add 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8" creationId="{2405BFB2-5D0A-461B-87F4-55787306FF1E}"/>
          </ac:spMkLst>
        </pc:spChg>
        <pc:spChg chg="mod">
          <ac:chgData name="Vladu, Madalin (MBBUC)" userId="7096a0a8-34cc-4131-8016-43226e017ace" providerId="ADAL" clId="{9A776B4E-2DA0-417C-986E-47B41CDDAB82}" dt="2024-05-14T08:40:35.938" v="1303" actId="1036"/>
          <ac:spMkLst>
            <pc:docMk/>
            <pc:sldMk cId="2263060086" sldId="2147481395"/>
            <ac:spMk id="9" creationId="{9B92758D-EE57-B24D-D613-569A4EE66EA8}"/>
          </ac:spMkLst>
        </pc:spChg>
        <pc:spChg chg="del">
          <ac:chgData name="Vladu, Madalin (MBBUC)" userId="7096a0a8-34cc-4131-8016-43226e017ace" providerId="ADAL" clId="{9A776B4E-2DA0-417C-986E-47B41CDDAB82}" dt="2024-05-14T08:29:00.601" v="718" actId="478"/>
          <ac:spMkLst>
            <pc:docMk/>
            <pc:sldMk cId="2263060086" sldId="2147481395"/>
            <ac:spMk id="10" creationId="{142097D7-8314-4C47-93F7-F2478349FE68}"/>
          </ac:spMkLst>
        </pc:spChg>
        <pc:spChg chg="mod">
          <ac:chgData name="Vladu, Madalin (MBBUC)" userId="7096a0a8-34cc-4131-8016-43226e017ace" providerId="ADAL" clId="{9A776B4E-2DA0-417C-986E-47B41CDDAB82}" dt="2024-05-14T08:34:49.991" v="999" actId="113"/>
          <ac:spMkLst>
            <pc:docMk/>
            <pc:sldMk cId="2263060086" sldId="2147481395"/>
            <ac:spMk id="12" creationId="{914D77CD-5869-858A-BEE3-47E49B9CE26E}"/>
          </ac:spMkLst>
        </pc:spChg>
        <pc:spChg chg="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13" creationId="{D3D7E5D2-472A-ECE5-6E51-7F5E563C5248}"/>
          </ac:spMkLst>
        </pc:spChg>
        <pc:spChg chg="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14" creationId="{EE2DF056-3D35-D60C-B3D3-FE93FBB204E3}"/>
          </ac:spMkLst>
        </pc:spChg>
        <pc:spChg chg="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15" creationId="{0E17114B-F83D-1B36-E2F2-D9B534B276E6}"/>
          </ac:spMkLst>
        </pc:spChg>
        <pc:spChg chg="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16" creationId="{D22F5F68-0B25-8638-9615-C19072E16753}"/>
          </ac:spMkLst>
        </pc:spChg>
        <pc:spChg chg="mod">
          <ac:chgData name="Vladu, Madalin (MBBUC)" userId="7096a0a8-34cc-4131-8016-43226e017ace" providerId="ADAL" clId="{9A776B4E-2DA0-417C-986E-47B41CDDAB82}" dt="2024-05-14T08:36:24.414" v="1072" actId="14100"/>
          <ac:spMkLst>
            <pc:docMk/>
            <pc:sldMk cId="2263060086" sldId="2147481395"/>
            <ac:spMk id="17" creationId="{4A6FC7D0-F4D4-8753-093B-125ABA5EBA07}"/>
          </ac:spMkLst>
        </pc:spChg>
        <pc:spChg chg="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21" creationId="{0241FBC8-B2E6-22AF-3235-FAEDB44D3E7C}"/>
          </ac:spMkLst>
        </pc:spChg>
        <pc:spChg chg="mod">
          <ac:chgData name="Vladu, Madalin (MBBUC)" userId="7096a0a8-34cc-4131-8016-43226e017ace" providerId="ADAL" clId="{9A776B4E-2DA0-417C-986E-47B41CDDAB82}" dt="2024-05-14T08:40:43.367" v="1312" actId="1036"/>
          <ac:spMkLst>
            <pc:docMk/>
            <pc:sldMk cId="2263060086" sldId="2147481395"/>
            <ac:spMk id="22" creationId="{20F8982A-CC5B-F1A2-D7F7-A4C32BD0BEB9}"/>
          </ac:spMkLst>
        </pc:spChg>
      </pc:sldChg>
      <pc:sldChg chg="del">
        <pc:chgData name="Vladu, Madalin (MBBUC)" userId="7096a0a8-34cc-4131-8016-43226e017ace" providerId="ADAL" clId="{9A776B4E-2DA0-417C-986E-47B41CDDAB82}" dt="2024-05-14T08:10:32.557" v="37" actId="47"/>
        <pc:sldMkLst>
          <pc:docMk/>
          <pc:sldMk cId="4011756860" sldId="2147481397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735194173" sldId="2147481400"/>
        </pc:sldMkLst>
      </pc:sldChg>
      <pc:sldChg chg="del">
        <pc:chgData name="Vladu, Madalin (MBBUC)" userId="7096a0a8-34cc-4131-8016-43226e017ace" providerId="ADAL" clId="{9A776B4E-2DA0-417C-986E-47B41CDDAB82}" dt="2024-05-14T08:10:32.557" v="37" actId="47"/>
        <pc:sldMkLst>
          <pc:docMk/>
          <pc:sldMk cId="472744791" sldId="2147481401"/>
        </pc:sldMkLst>
      </pc:sldChg>
      <pc:sldChg chg="addSp delSp modSp del mod">
        <pc:chgData name="Vladu, Madalin (MBBUC)" userId="7096a0a8-34cc-4131-8016-43226e017ace" providerId="ADAL" clId="{9A776B4E-2DA0-417C-986E-47B41CDDAB82}" dt="2024-05-14T08:28:48.778" v="717" actId="47"/>
        <pc:sldMkLst>
          <pc:docMk/>
          <pc:sldMk cId="391360460" sldId="2147481402"/>
        </pc:sldMkLst>
        <pc:spChg chg="mod">
          <ac:chgData name="Vladu, Madalin (MBBUC)" userId="7096a0a8-34cc-4131-8016-43226e017ace" providerId="ADAL" clId="{9A776B4E-2DA0-417C-986E-47B41CDDAB82}" dt="2024-05-14T08:26:38.967" v="663" actId="20577"/>
          <ac:spMkLst>
            <pc:docMk/>
            <pc:sldMk cId="391360460" sldId="2147481402"/>
            <ac:spMk id="2" creationId="{82F3E0C3-DED4-09D3-C849-313850B7589A}"/>
          </ac:spMkLst>
        </pc:spChg>
        <pc:spChg chg="add mod">
          <ac:chgData name="Vladu, Madalin (MBBUC)" userId="7096a0a8-34cc-4131-8016-43226e017ace" providerId="ADAL" clId="{9A776B4E-2DA0-417C-986E-47B41CDDAB82}" dt="2024-05-14T08:27:48.197" v="712"/>
          <ac:spMkLst>
            <pc:docMk/>
            <pc:sldMk cId="391360460" sldId="2147481402"/>
            <ac:spMk id="3" creationId="{3CB0259A-6358-A791-62D2-93CD117D170E}"/>
          </ac:spMkLst>
        </pc:spChg>
        <pc:spChg chg="del">
          <ac:chgData name="Vladu, Madalin (MBBUC)" userId="7096a0a8-34cc-4131-8016-43226e017ace" providerId="ADAL" clId="{9A776B4E-2DA0-417C-986E-47B41CDDAB82}" dt="2024-05-14T08:27:44.482" v="711" actId="478"/>
          <ac:spMkLst>
            <pc:docMk/>
            <pc:sldMk cId="391360460" sldId="2147481402"/>
            <ac:spMk id="4" creationId="{CE770D83-A5CA-227F-D2F3-CEDF7D73EE30}"/>
          </ac:spMkLst>
        </pc:spChg>
        <pc:spChg chg="mod">
          <ac:chgData name="Vladu, Madalin (MBBUC)" userId="7096a0a8-34cc-4131-8016-43226e017ace" providerId="ADAL" clId="{9A776B4E-2DA0-417C-986E-47B41CDDAB82}" dt="2024-05-14T08:28:24.317" v="716" actId="113"/>
          <ac:spMkLst>
            <pc:docMk/>
            <pc:sldMk cId="391360460" sldId="2147481402"/>
            <ac:spMk id="5" creationId="{D15D69F8-97E6-5728-DAB1-EF77A0730E44}"/>
          </ac:spMkLst>
        </pc:spChg>
        <pc:spChg chg="mod">
          <ac:chgData name="Vladu, Madalin (MBBUC)" userId="7096a0a8-34cc-4131-8016-43226e017ace" providerId="ADAL" clId="{9A776B4E-2DA0-417C-986E-47B41CDDAB82}" dt="2024-05-14T08:27:29.569" v="708" actId="20577"/>
          <ac:spMkLst>
            <pc:docMk/>
            <pc:sldMk cId="391360460" sldId="2147481402"/>
            <ac:spMk id="7" creationId="{2A036851-A634-A60F-3A2C-A3C6EC6964EA}"/>
          </ac:spMkLst>
        </pc:spChg>
        <pc:spChg chg="mod">
          <ac:chgData name="Vladu, Madalin (MBBUC)" userId="7096a0a8-34cc-4131-8016-43226e017ace" providerId="ADAL" clId="{9A776B4E-2DA0-417C-986E-47B41CDDAB82}" dt="2024-05-14T08:27:40.987" v="709"/>
          <ac:spMkLst>
            <pc:docMk/>
            <pc:sldMk cId="391360460" sldId="2147481402"/>
            <ac:spMk id="11" creationId="{279C3234-A31F-4BAE-459E-03B6CF4A4180}"/>
          </ac:spMkLst>
        </pc:spChg>
        <pc:spChg chg="del">
          <ac:chgData name="Vladu, Madalin (MBBUC)" userId="7096a0a8-34cc-4131-8016-43226e017ace" providerId="ADAL" clId="{9A776B4E-2DA0-417C-986E-47B41CDDAB82}" dt="2024-05-14T08:27:43.123" v="710" actId="478"/>
          <ac:spMkLst>
            <pc:docMk/>
            <pc:sldMk cId="391360460" sldId="2147481402"/>
            <ac:spMk id="30" creationId="{95452A9F-3973-37CF-F038-DCE26657FE65}"/>
          </ac:spMkLst>
        </pc:spChg>
      </pc:sldChg>
      <pc:sldChg chg="addSp delSp modSp mod">
        <pc:chgData name="Vladu, Madalin (MBBUC)" userId="7096a0a8-34cc-4131-8016-43226e017ace" providerId="ADAL" clId="{9A776B4E-2DA0-417C-986E-47B41CDDAB82}" dt="2024-05-14T08:26:10.927" v="633" actId="20577"/>
        <pc:sldMkLst>
          <pc:docMk/>
          <pc:sldMk cId="3325625516" sldId="2147481403"/>
        </pc:sldMkLst>
        <pc:spChg chg="mod">
          <ac:chgData name="Vladu, Madalin (MBBUC)" userId="7096a0a8-34cc-4131-8016-43226e017ace" providerId="ADAL" clId="{9A776B4E-2DA0-417C-986E-47B41CDDAB82}" dt="2024-05-14T08:26:10.927" v="633" actId="20577"/>
          <ac:spMkLst>
            <pc:docMk/>
            <pc:sldMk cId="3325625516" sldId="2147481403"/>
            <ac:spMk id="2" creationId="{B2F112C3-26BB-DEFE-E9F7-58235A992C8A}"/>
          </ac:spMkLst>
        </pc:spChg>
        <pc:spChg chg="add mod">
          <ac:chgData name="Vladu, Madalin (MBBUC)" userId="7096a0a8-34cc-4131-8016-43226e017ace" providerId="ADAL" clId="{9A776B4E-2DA0-417C-986E-47B41CDDAB82}" dt="2024-05-14T08:22:25.824" v="410"/>
          <ac:spMkLst>
            <pc:docMk/>
            <pc:sldMk cId="3325625516" sldId="2147481403"/>
            <ac:spMk id="3" creationId="{9D3D177F-07B5-54B2-4254-3ABEBDFA5540}"/>
          </ac:spMkLst>
        </pc:spChg>
        <pc:spChg chg="del">
          <ac:chgData name="Vladu, Madalin (MBBUC)" userId="7096a0a8-34cc-4131-8016-43226e017ace" providerId="ADAL" clId="{9A776B4E-2DA0-417C-986E-47B41CDDAB82}" dt="2024-05-14T08:22:25.014" v="409" actId="478"/>
          <ac:spMkLst>
            <pc:docMk/>
            <pc:sldMk cId="3325625516" sldId="2147481403"/>
            <ac:spMk id="4" creationId="{3D2F3E35-BE5E-ABC1-B531-BA054FF4C800}"/>
          </ac:spMkLst>
        </pc:spChg>
        <pc:spChg chg="mod">
          <ac:chgData name="Vladu, Madalin (MBBUC)" userId="7096a0a8-34cc-4131-8016-43226e017ace" providerId="ADAL" clId="{9A776B4E-2DA0-417C-986E-47B41CDDAB82}" dt="2024-05-14T08:25:52.046" v="628" actId="790"/>
          <ac:spMkLst>
            <pc:docMk/>
            <pc:sldMk cId="3325625516" sldId="2147481403"/>
            <ac:spMk id="5" creationId="{BF5FE435-816D-2960-93E4-BD9F03943500}"/>
          </ac:spMkLst>
        </pc:spChg>
        <pc:spChg chg="mod">
          <ac:chgData name="Vladu, Madalin (MBBUC)" userId="7096a0a8-34cc-4131-8016-43226e017ace" providerId="ADAL" clId="{9A776B4E-2DA0-417C-986E-47B41CDDAB82}" dt="2024-05-14T08:22:17.616" v="407"/>
          <ac:spMkLst>
            <pc:docMk/>
            <pc:sldMk cId="3325625516" sldId="2147481403"/>
            <ac:spMk id="8" creationId="{4D035E95-4E54-FFCC-A986-37F510978215}"/>
          </ac:spMkLst>
        </pc:spChg>
        <pc:spChg chg="del">
          <ac:chgData name="Vladu, Madalin (MBBUC)" userId="7096a0a8-34cc-4131-8016-43226e017ace" providerId="ADAL" clId="{9A776B4E-2DA0-417C-986E-47B41CDDAB82}" dt="2024-05-14T08:22:19.844" v="408" actId="478"/>
          <ac:spMkLst>
            <pc:docMk/>
            <pc:sldMk cId="3325625516" sldId="2147481403"/>
            <ac:spMk id="30" creationId="{E330CE24-161B-69C5-25B0-E992683F2BAC}"/>
          </ac:spMkLst>
        </pc:spChg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2373752418" sldId="2147481404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277755364" sldId="2147481405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816044305" sldId="2147481406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3164862564" sldId="2147481407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3005159955" sldId="2147481408"/>
        </pc:sldMkLst>
      </pc:sldChg>
      <pc:sldChg chg="modSp mod">
        <pc:chgData name="Vladu, Madalin (MBBUC)" userId="7096a0a8-34cc-4131-8016-43226e017ace" providerId="ADAL" clId="{9A776B4E-2DA0-417C-986E-47B41CDDAB82}" dt="2024-05-14T08:10:26.996" v="36" actId="20577"/>
        <pc:sldMkLst>
          <pc:docMk/>
          <pc:sldMk cId="2370302417" sldId="2147481409"/>
        </pc:sldMkLst>
        <pc:spChg chg="mod">
          <ac:chgData name="Vladu, Madalin (MBBUC)" userId="7096a0a8-34cc-4131-8016-43226e017ace" providerId="ADAL" clId="{9A776B4E-2DA0-417C-986E-47B41CDDAB82}" dt="2024-05-14T08:10:26.996" v="36" actId="20577"/>
          <ac:spMkLst>
            <pc:docMk/>
            <pc:sldMk cId="2370302417" sldId="2147481409"/>
            <ac:spMk id="4" creationId="{030A83B9-0280-9EC5-AE2B-334C1A9964B1}"/>
          </ac:spMkLst>
        </pc:spChg>
      </pc:sldChg>
      <pc:sldChg chg="add del">
        <pc:chgData name="Vladu, Madalin (MBBUC)" userId="7096a0a8-34cc-4131-8016-43226e017ace" providerId="ADAL" clId="{9A776B4E-2DA0-417C-986E-47B41CDDAB82}" dt="2024-05-14T08:26:00.466" v="629" actId="47"/>
        <pc:sldMkLst>
          <pc:docMk/>
          <pc:sldMk cId="2656607470" sldId="2147481410"/>
        </pc:sldMkLst>
      </pc:sldChg>
      <pc:sldChg chg="del">
        <pc:chgData name="Vladu, Madalin (MBBUC)" userId="7096a0a8-34cc-4131-8016-43226e017ace" providerId="ADAL" clId="{9A776B4E-2DA0-417C-986E-47B41CDDAB82}" dt="2024-05-14T08:10:01.231" v="15" actId="47"/>
        <pc:sldMkLst>
          <pc:docMk/>
          <pc:sldMk cId="3928161084" sldId="2147481410"/>
        </pc:sldMkLst>
      </pc:sldChg>
      <pc:sldChg chg="add del ord">
        <pc:chgData name="Vladu, Madalin (MBBUC)" userId="7096a0a8-34cc-4131-8016-43226e017ace" providerId="ADAL" clId="{9A776B4E-2DA0-417C-986E-47B41CDDAB82}" dt="2024-05-14T08:20:59.383" v="399" actId="47"/>
        <pc:sldMkLst>
          <pc:docMk/>
          <pc:sldMk cId="4225834205" sldId="2147481410"/>
        </pc:sldMkLst>
      </pc:sldChg>
      <pc:sldChg chg="add del">
        <pc:chgData name="Vladu, Madalin (MBBUC)" userId="7096a0a8-34cc-4131-8016-43226e017ace" providerId="ADAL" clId="{9A776B4E-2DA0-417C-986E-47B41CDDAB82}" dt="2024-05-14T08:09:46.738" v="14" actId="47"/>
        <pc:sldMkLst>
          <pc:docMk/>
          <pc:sldMk cId="508085745" sldId="214748141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D0C9D9-5F19-427E-AE0D-21BDE995EB38}" type="datetimeFigureOut">
              <a:rPr lang="en-GB" smtClean="0"/>
              <a:t>14/05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DAD1A7-F718-442D-BE76-0FAE624F48E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0350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A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00C33-90AE-4963-9AD8-3B07939F57E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9144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12975" y="1019175"/>
            <a:ext cx="4084638" cy="2298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…change you need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9864B4-8004-F346-8933-033E1DE239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41155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GRAHAM</a:t>
            </a:r>
          </a:p>
          <a:p>
            <a:endParaRPr lang="en-GB"/>
          </a:p>
          <a:p>
            <a:r>
              <a:rPr lang="en-GB"/>
              <a:t>Jorge and Graham session taking feedback to make it easier.</a:t>
            </a:r>
          </a:p>
          <a:p>
            <a:r>
              <a:rPr lang="en-GB"/>
              <a:t>Remove all references to power metrics.</a:t>
            </a:r>
          </a:p>
          <a:p>
            <a:r>
              <a:rPr lang="en-GB"/>
              <a:t>5x as many people will buy you in a given period compared with lack of meaningful difference</a:t>
            </a:r>
          </a:p>
          <a:p>
            <a:r>
              <a:rPr lang="en-GB"/>
              <a:t>Gives you a 1% advantage on growing penetration…to get to 1.2%</a:t>
            </a:r>
          </a:p>
          <a:p>
            <a:r>
              <a:rPr lang="en-GB"/>
              <a:t>Most brands have low penetration (utilities don’t change often)</a:t>
            </a:r>
          </a:p>
          <a:p>
            <a:r>
              <a:rPr lang="en-GB"/>
              <a:t>If you have 20%, then +1% on top is 5%.</a:t>
            </a:r>
          </a:p>
          <a:p>
            <a:r>
              <a:rPr lang="en-GB"/>
              <a:t>Better to say ‘gives you significant advantage in pen growth over 2 years’ – depends on brand, category, competitors, switching behaviour. WP say sig pen growth is 1.2%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00C33-90AE-4963-9AD8-3B07939F57E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73823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AFA913-E65C-7681-EF10-CE876AFF5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0180D58-52E4-0618-48DE-5DB0FD58C9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A25267-2D11-B4EC-BCC5-45A004E726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GRAHAM</a:t>
            </a:r>
          </a:p>
          <a:p>
            <a:endParaRPr lang="en-GB"/>
          </a:p>
          <a:p>
            <a:r>
              <a:rPr lang="en-GB"/>
              <a:t>Jorge and Graham session taking feedback to make it easier.</a:t>
            </a:r>
          </a:p>
          <a:p>
            <a:r>
              <a:rPr lang="en-GB"/>
              <a:t>Remove all references to power metrics.</a:t>
            </a:r>
          </a:p>
          <a:p>
            <a:r>
              <a:rPr lang="en-GB"/>
              <a:t>5x as many people will buy you in a given period compared with lack of meaningful difference</a:t>
            </a:r>
          </a:p>
          <a:p>
            <a:r>
              <a:rPr lang="en-GB"/>
              <a:t>Gives you a 1% advantage on growing penetration…to get to 1.2%</a:t>
            </a:r>
          </a:p>
          <a:p>
            <a:r>
              <a:rPr lang="en-GB"/>
              <a:t>Most brands have low penetration (utilities don’t change often)</a:t>
            </a:r>
          </a:p>
          <a:p>
            <a:r>
              <a:rPr lang="en-GB"/>
              <a:t>If you have 20%, then +1% on top is 5%.</a:t>
            </a:r>
          </a:p>
          <a:p>
            <a:r>
              <a:rPr lang="en-GB"/>
              <a:t>Better to say ‘gives you significant advantage in pen growth over 2 years’ – depends on brand, category, competitors, switching behaviour. WP say sig pen growth is 1.2%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299640-FA4F-DDFE-601F-82F0899CAA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00C33-90AE-4963-9AD8-3B07939F57E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66170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GRAH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00C33-90AE-4963-9AD8-3B07939F57E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4298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MA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00C33-90AE-4963-9AD8-3B07939F57E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2947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MA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00C33-90AE-4963-9AD8-3B07939F57E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9946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9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1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94CCC187-AAD5-55AE-394C-4FB8D232E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3" name="Kantar logo">
            <a:extLst>
              <a:ext uri="{FF2B5EF4-FFF2-40B4-BE49-F238E27FC236}">
                <a16:creationId xmlns:a16="http://schemas.microsoft.com/office/drawing/2014/main" id="{61544F70-E3D0-9F87-1D9D-CDA395FD9A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60363" y="557213"/>
            <a:ext cx="1939925" cy="3683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532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6C45C-9BBB-4B14-BC71-8D9593AF9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710000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376488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376488"/>
            <a:ext cx="2728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A444E5-6DCB-4387-82D7-374FBA34E3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191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EED13-8109-40D7-B85E-48D72364D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60EB60-D174-4782-B63F-DCF2657E1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4526FD-FB6E-4148-89B3-7D266E2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23F4F6-B0E8-4724-933C-35F21A7E42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874" y="910800"/>
            <a:ext cx="11466000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080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C433-9252-44D6-8AA4-495DB5934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AA46E-1017-4823-B4EC-B35766CE6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E1B86A-68D0-4D2D-A5CB-00F231C8B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376488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77674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77674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8EED4C4-55A2-440F-BFEB-B054C5169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485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4F353-7CBB-4EBB-BB48-0DDB45E9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5794D1-DF29-4B89-9359-EE65C8A56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72A83-22C7-42BE-87D1-B99FEC13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0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112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224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36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448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56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69F7FED-54BA-4C56-83A5-FA86011940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738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5111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81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34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22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479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895B6F9-54DB-428E-9A0A-FA1DD7C58F6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33469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6" name="Picture 5" descr="A blue grid with white squares&#10;&#10;Description automatically generated">
            <a:extLst>
              <a:ext uri="{FF2B5EF4-FFF2-40B4-BE49-F238E27FC236}">
                <a16:creationId xmlns:a16="http://schemas.microsoft.com/office/drawing/2014/main" id="{443FC417-DA24-A8FE-B160-2623A512D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58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CC9C48B-8F01-477C-A429-B5E465F5632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67E2D2-7C31-4CEA-8775-7B4E031C034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13475" y="1490401"/>
            <a:ext cx="63612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86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919E3D3-0D4F-48CE-AB93-69E448E9847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0" cap="flat">
                <a:solidFill>
                  <a:srgbClr val="FFFFFF"/>
                </a:solidFill>
                <a:prstDash val="solid"/>
                <a:miter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FFFFFF"/>
                </a:solidFill>
              </a14:hiddenLine>
            </a:ext>
          </a:extLst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68742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087B06F-69A6-4EAD-A196-9FC5E6C0FDA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B940724-CD0A-4966-9236-B1E83A63E8E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13475" y="1490401"/>
            <a:ext cx="63612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04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29371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372646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676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415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694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5626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5626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2800" y="1710000"/>
            <a:ext cx="5626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2363" y="2376488"/>
            <a:ext cx="5626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F22C1D-496B-4E53-BF19-ED9291DCCF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89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64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163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16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880B-B2A1-4343-8F1B-D11FAEA2A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7B1331-D3E0-4904-82E5-02B601057E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59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6C45C-9BBB-4B14-BC71-8D9593AF9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710000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376488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376488"/>
            <a:ext cx="2728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A444E5-6DCB-4387-82D7-374FBA34E3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567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EED13-8109-40D7-B85E-48D72364D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60EB60-D174-4782-B63F-DCF2657E1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4526FD-FB6E-4148-89B3-7D266E2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23F4F6-B0E8-4724-933C-35F21A7E42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874" y="910800"/>
            <a:ext cx="11466000" cy="39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81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C433-9252-44D6-8AA4-495DB5934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AA46E-1017-4823-B4EC-B35766CE6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E1B86A-68D0-4D2D-A5CB-00F231C8B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376488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77674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77674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8EED4C4-55A2-440F-BFEB-B054C5169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046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4F353-7CBB-4EBB-BB48-0DDB45E9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5794D1-DF29-4B89-9359-EE65C8A56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72A83-22C7-42BE-87D1-B99FEC13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0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112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224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36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448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56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69F7FED-54BA-4C56-83A5-FA86011940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9859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43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76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48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22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13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710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60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9C51B2C-A001-27DE-ABA0-3328CCE12A7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Kick">
            <a:extLst>
              <a:ext uri="{FF2B5EF4-FFF2-40B4-BE49-F238E27FC236}">
                <a16:creationId xmlns:a16="http://schemas.microsoft.com/office/drawing/2014/main" id="{4E5D019C-AA62-A8CE-6450-8FB165C5A1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 hasCustomPrompt="1"/>
          </p:nvPr>
        </p:nvSpPr>
        <p:spPr>
          <a:xfrm>
            <a:off x="0" y="0"/>
            <a:ext cx="3881438" cy="685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3" name="Kantar logo">
            <a:extLst>
              <a:ext uri="{FF2B5EF4-FFF2-40B4-BE49-F238E27FC236}">
                <a16:creationId xmlns:a16="http://schemas.microsoft.com/office/drawing/2014/main" id="{413DB59D-2F78-ADDF-7991-8E63A4119D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60363" y="557213"/>
            <a:ext cx="1939925" cy="3683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987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small kick">
            <a:extLst>
              <a:ext uri="{FF2B5EF4-FFF2-40B4-BE49-F238E27FC236}">
                <a16:creationId xmlns:a16="http://schemas.microsoft.com/office/drawing/2014/main" id="{E00906A3-9F5D-49B3-C2E5-BA11DE9FA9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1" hasCustomPrompt="1"/>
          </p:nvPr>
        </p:nvSpPr>
        <p:spPr>
          <a:xfrm>
            <a:off x="4270375" y="1490663"/>
            <a:ext cx="2568575" cy="449897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7" name="Gold Bar">
            <a:extLst>
              <a:ext uri="{FF2B5EF4-FFF2-40B4-BE49-F238E27FC236}">
                <a16:creationId xmlns:a16="http://schemas.microsoft.com/office/drawing/2014/main" id="{1ADB29CA-18EE-48E7-B991-4B2578F893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07125" y="1490400"/>
            <a:ext cx="63981" cy="45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B6564A35-867D-4FB8-BD9A-08422621EC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37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94CCC187-AAD5-55AE-394C-4FB8D232E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3" name="Kantar logo">
            <a:extLst>
              <a:ext uri="{FF2B5EF4-FFF2-40B4-BE49-F238E27FC236}">
                <a16:creationId xmlns:a16="http://schemas.microsoft.com/office/drawing/2014/main" id="{61544F70-E3D0-9F87-1D9D-CDA395FD9A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60363" y="557213"/>
            <a:ext cx="1939925" cy="3683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336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small kick">
            <a:extLst>
              <a:ext uri="{FF2B5EF4-FFF2-40B4-BE49-F238E27FC236}">
                <a16:creationId xmlns:a16="http://schemas.microsoft.com/office/drawing/2014/main" id="{810F81F1-9895-E713-097A-193D916A54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2" hasCustomPrompt="1"/>
          </p:nvPr>
        </p:nvSpPr>
        <p:spPr>
          <a:xfrm>
            <a:off x="4270375" y="1490663"/>
            <a:ext cx="2568575" cy="449897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7" name="Gold bar">
            <a:extLst>
              <a:ext uri="{FF2B5EF4-FFF2-40B4-BE49-F238E27FC236}">
                <a16:creationId xmlns:a16="http://schemas.microsoft.com/office/drawing/2014/main" id="{1ADB29CA-18EE-48E7-B991-4B2578F893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07125" y="1490400"/>
            <a:ext cx="63981" cy="45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11" name="Kantar Logo">
            <a:extLst>
              <a:ext uri="{FF2B5EF4-FFF2-40B4-BE49-F238E27FC236}">
                <a16:creationId xmlns:a16="http://schemas.microsoft.com/office/drawing/2014/main" id="{01EE2173-34DD-4E4A-828D-CFC09D3A11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5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6" name="Picture 5" descr="A blue grid with white squares&#10;&#10;Description automatically generated">
            <a:extLst>
              <a:ext uri="{FF2B5EF4-FFF2-40B4-BE49-F238E27FC236}">
                <a16:creationId xmlns:a16="http://schemas.microsoft.com/office/drawing/2014/main" id="{443FC417-DA24-A8FE-B160-2623A512D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580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19495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637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48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67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6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5626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5626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2800" y="1710000"/>
            <a:ext cx="5626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2363" y="2376488"/>
            <a:ext cx="5626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F22C1D-496B-4E53-BF19-ED9291DCCF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32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16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085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880B-B2A1-4343-8F1B-D11FAEA2A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7B1331-D3E0-4904-82E5-02B601057E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802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6C45C-9BBB-4B14-BC71-8D9593AF9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710000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376488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376488"/>
            <a:ext cx="2728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A444E5-6DCB-4387-82D7-374FBA34E3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00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EED13-8109-40D7-B85E-48D72364D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60EB60-D174-4782-B63F-DCF2657E1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4526FD-FB6E-4148-89B3-7D266E2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23F4F6-B0E8-4724-933C-35F21A7E42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874" y="910800"/>
            <a:ext cx="11466000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833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C433-9252-44D6-8AA4-495DB5934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AA46E-1017-4823-B4EC-B35766CE6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E1B86A-68D0-4D2D-A5CB-00F231C8B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376488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77674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77674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8EED4C4-55A2-440F-BFEB-B054C5169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005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4F353-7CBB-4EBB-BB48-0DDB45E9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5794D1-DF29-4B89-9359-EE65C8A56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72A83-22C7-42BE-87D1-B99FEC13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0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112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224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36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448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56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69F7FED-54BA-4C56-83A5-FA86011940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186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91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429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5626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5626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2800" y="1710000"/>
            <a:ext cx="5626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2363" y="2376488"/>
            <a:ext cx="5626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F22C1D-496B-4E53-BF19-ED9291DCCF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41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885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2326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00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9C51B2C-A001-27DE-ABA0-3328CCE12A7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Kick">
            <a:extLst>
              <a:ext uri="{FF2B5EF4-FFF2-40B4-BE49-F238E27FC236}">
                <a16:creationId xmlns:a16="http://schemas.microsoft.com/office/drawing/2014/main" id="{4E5D019C-AA62-A8CE-6450-8FB165C5A1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2" hasCustomPrompt="1"/>
          </p:nvPr>
        </p:nvSpPr>
        <p:spPr>
          <a:xfrm>
            <a:off x="0" y="0"/>
            <a:ext cx="3881438" cy="6858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3" name="Kantar logo">
            <a:extLst>
              <a:ext uri="{FF2B5EF4-FFF2-40B4-BE49-F238E27FC236}">
                <a16:creationId xmlns:a16="http://schemas.microsoft.com/office/drawing/2014/main" id="{413DB59D-2F78-ADDF-7991-8E63A4119D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60363" y="557213"/>
            <a:ext cx="1939925" cy="3683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37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small kick">
            <a:extLst>
              <a:ext uri="{FF2B5EF4-FFF2-40B4-BE49-F238E27FC236}">
                <a16:creationId xmlns:a16="http://schemas.microsoft.com/office/drawing/2014/main" id="{E00906A3-9F5D-49B3-C2E5-BA11DE9FA9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1" hasCustomPrompt="1"/>
          </p:nvPr>
        </p:nvSpPr>
        <p:spPr>
          <a:xfrm>
            <a:off x="4270375" y="1490663"/>
            <a:ext cx="2568575" cy="449897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7" name="Gold Bar">
            <a:extLst>
              <a:ext uri="{FF2B5EF4-FFF2-40B4-BE49-F238E27FC236}">
                <a16:creationId xmlns:a16="http://schemas.microsoft.com/office/drawing/2014/main" id="{1ADB29CA-18EE-48E7-B991-4B2578F893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07125" y="1490400"/>
            <a:ext cx="63981" cy="45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B6564A35-867D-4FB8-BD9A-08422621EC4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188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94CCC187-AAD5-55AE-394C-4FB8D232EB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4971600"/>
            <a:ext cx="3521075" cy="1022350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4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64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3" name="Kantar logo">
            <a:extLst>
              <a:ext uri="{FF2B5EF4-FFF2-40B4-BE49-F238E27FC236}">
                <a16:creationId xmlns:a16="http://schemas.microsoft.com/office/drawing/2014/main" id="{61544F70-E3D0-9F87-1D9D-CDA395FD9A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3" hasCustomPrompt="1"/>
          </p:nvPr>
        </p:nvSpPr>
        <p:spPr>
          <a:xfrm>
            <a:off x="360363" y="557213"/>
            <a:ext cx="1939925" cy="3683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393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CC213809-11F2-4FF6-8836-C61FDCCBA32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2000" y="1490400"/>
            <a:ext cx="7920000" cy="450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small kick">
            <a:extLst>
              <a:ext uri="{FF2B5EF4-FFF2-40B4-BE49-F238E27FC236}">
                <a16:creationId xmlns:a16="http://schemas.microsoft.com/office/drawing/2014/main" id="{810F81F1-9895-E713-097A-193D916A54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22" hasCustomPrompt="1"/>
          </p:nvPr>
        </p:nvSpPr>
        <p:spPr>
          <a:xfrm>
            <a:off x="4270375" y="1490663"/>
            <a:ext cx="2568575" cy="4498975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7" name="Gold bar">
            <a:extLst>
              <a:ext uri="{FF2B5EF4-FFF2-40B4-BE49-F238E27FC236}">
                <a16:creationId xmlns:a16="http://schemas.microsoft.com/office/drawing/2014/main" id="{1ADB29CA-18EE-48E7-B991-4B2578F893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07125" y="1490400"/>
            <a:ext cx="63981" cy="45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8B54B2-17FC-4F44-A549-93DE726BD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971600"/>
            <a:ext cx="3519536" cy="1022713"/>
          </a:xfrm>
        </p:spPr>
        <p:txBody>
          <a:bodyPr anchor="b"/>
          <a:lstStyle>
            <a:lvl1pPr>
              <a:spcBef>
                <a:spcPts val="600"/>
              </a:spcBef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8F4C310-09FC-4B27-9FA2-5128CE9C6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3708000"/>
            <a:ext cx="3520800" cy="10227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EB514B-0857-4EBF-B042-2A3E81792E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490400"/>
            <a:ext cx="3520800" cy="197533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11" name="Kantar Logo">
            <a:extLst>
              <a:ext uri="{FF2B5EF4-FFF2-40B4-BE49-F238E27FC236}">
                <a16:creationId xmlns:a16="http://schemas.microsoft.com/office/drawing/2014/main" id="{01EE2173-34DD-4E4A-828D-CFC09D3A11C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000" y="558000"/>
            <a:ext cx="1940914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28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2258559"/>
            <a:ext cx="5643563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1713600"/>
            <a:ext cx="976676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  <p:pic>
        <p:nvPicPr>
          <p:cNvPr id="6" name="Picture 5" descr="A blue grid with white squares&#10;&#10;Description automatically generated">
            <a:extLst>
              <a:ext uri="{FF2B5EF4-FFF2-40B4-BE49-F238E27FC236}">
                <a16:creationId xmlns:a16="http://schemas.microsoft.com/office/drawing/2014/main" id="{443FC417-DA24-A8FE-B160-2623A512D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83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(black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2257200"/>
            <a:ext cx="5643927" cy="198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1713332"/>
            <a:ext cx="976312" cy="540000"/>
          </a:xfrm>
          <a:prstGeom prst="rect">
            <a:avLst/>
          </a:prstGeom>
        </p:spPr>
        <p:txBody>
          <a:bodyPr anchor="t"/>
          <a:lstStyle>
            <a:lvl1pPr algn="l">
              <a:spcBef>
                <a:spcPts val="200"/>
              </a:spcBef>
              <a:defRPr sz="4000" b="0">
                <a:solidFill>
                  <a:schemeClr val="bg1"/>
                </a:solidFill>
              </a:defRPr>
            </a:lvl1pPr>
            <a:lvl2pPr marL="0" indent="0" algn="l">
              <a:spcBef>
                <a:spcPts val="200"/>
              </a:spcBef>
              <a:buNone/>
              <a:defRPr sz="22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2962681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05BF4-D562-44BF-BA5C-F9CA4C0FE9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363" y="1710000"/>
            <a:ext cx="11466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433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630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11464925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1466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51D583-D2F5-4206-82FD-3E7E687E57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910800"/>
            <a:ext cx="11466513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901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667F2-B31E-4932-857C-E542EC7E0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86C412-8D9A-4518-BD82-093D1D70BD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8D1434-081E-42DD-A0E7-8AD211AD6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D24B38-2DD2-4BE4-A6BC-6AB461A6A6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28BB49-92B7-4BBE-AD91-816AF9386D4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0965" y="1710000"/>
            <a:ext cx="5626800" cy="39989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FAE1AF-1132-4B0D-8DC6-F52576CE68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363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562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5626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5626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A4903-9221-4FF9-912C-268A8584F3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2800" y="1710000"/>
            <a:ext cx="5626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3F8654F-9C23-4A2E-AF1D-7C6743D88CE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2363" y="2376488"/>
            <a:ext cx="5626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1F22C1D-496B-4E53-BF19-ED9291DCCF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17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C06-0E64-440D-9CE8-5164D1651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E4B3E9-7CA2-4847-B7BD-96957DE3022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10D5E0E-637F-4A32-A98F-3FE4ED8121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57618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6435609-FC5D-424F-A15C-A0856D1FFF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54874" y="1710000"/>
            <a:ext cx="36720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582AC7-4667-407B-A5E8-45D6349311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795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580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880B-B2A1-4343-8F1B-D11FAEA2A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710000"/>
            <a:ext cx="2728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7B1331-D3E0-4904-82E5-02B601057E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219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6C45C-9BBB-4B14-BC71-8D9593AF92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A4FC7E-D91D-407A-BFBE-F405D6BBEA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916EF-EC2F-4137-B182-AA5508918E8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9A3CD5-4B7B-41AC-BFD5-7AA2D853D0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2691" y="1710000"/>
            <a:ext cx="27288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5F727AD-E63B-412E-B986-D86DFE5EED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72691" y="2376488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CEE6CD4-960B-4926-8A35-E8FF363F87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5382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544BF1C-E9EC-43D2-A239-79E43B7C24C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185382" y="2376000"/>
            <a:ext cx="27288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27027DC-FD56-4CD6-8B38-7C623A97D1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8074" y="1710000"/>
            <a:ext cx="27288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513656D-7804-45C7-9561-4FFDBE1F523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98074" y="2376488"/>
            <a:ext cx="27288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A444E5-6DCB-4387-82D7-374FBA34E3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024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EED13-8109-40D7-B85E-48D72364D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60EB60-D174-4782-B63F-DCF2657E1B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4526FD-FB6E-4148-89B3-7D266E27B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5E99A7-B8B8-4860-8872-63A20BC4983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3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136CF45-35B9-4F30-93CE-11D7DC6AE4A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689691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190C909-262D-4930-924B-8C4285CF85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019019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C18864E4-1D92-4544-8F52-1155810D792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48347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8E0E68-5345-4D62-8D07-AE58AE33067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677674" y="1710000"/>
            <a:ext cx="21492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E23F4F6-B0E8-4724-933C-35F21A7E42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874" y="910800"/>
            <a:ext cx="11466000" cy="396000"/>
          </a:xfrm>
        </p:spPr>
        <p:txBody>
          <a:bodyPr/>
          <a:lstStyle>
            <a:lvl1pPr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37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5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C433-9252-44D6-8AA4-495DB5934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6AA46E-1017-4823-B4EC-B35766CE67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E1B86A-68D0-4D2D-A5CB-00F231C8B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4B8469-FF2E-4467-8E43-A49A3388A2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F0DDC14-9B67-4FE8-BC58-A70501A5344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007D028-2ECB-46AF-8517-CCF9C089D8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9691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1DDE75-E486-4A48-BDBB-2C2A5B5E64D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689419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A506B6-1DA9-4CD7-9F56-C6BF2FDC18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9019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F41FFAE-2857-4B94-916D-0210AE0A176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018838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34C508-C3AF-422F-B1C7-A38F34513A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8347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0D9455C4-8047-4B5B-B5BC-4A0379405BC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48257" y="2376488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AEAC907-A41C-4782-BCD8-2B8C0ADD4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77674" y="1710000"/>
            <a:ext cx="21492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056BBA8E-FD61-47C5-A779-B66918B4D32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677674" y="2376000"/>
            <a:ext cx="21492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8EED4C4-55A2-440F-BFEB-B054C51690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363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4F353-7CBB-4EBB-BB48-0DDB45E9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5794D1-DF29-4B89-9359-EE65C8A56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72A83-22C7-42BE-87D1-B99FEC135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7B7932-7D06-4E7E-AF70-44D39F481C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0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FB353AB-4D08-4BBD-91C2-E6A30A5F493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30112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6B5AF-EB3C-46C5-B212-27204822781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4224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5800475F-DBE2-47A0-89B9-1175EDD8427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8336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0B5CE08A-01D2-488B-843A-CA3415AB73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12448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39BAB9BC-6F39-4494-87B4-04D45B7607B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0065600" y="1710000"/>
            <a:ext cx="17604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69F7FED-54BA-4C56-83A5-FA86011940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4589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5AEE3-9929-4A79-A968-8D4311BF5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044888-1B05-4294-ABC2-A93A4A32E0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B8C48F8-FEC0-41E0-BBB9-68EC3003D7D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9D2917-03D0-4000-AA1D-13CEEB10F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57437" y="1710000"/>
            <a:ext cx="36720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E23886-2490-491C-8436-F655BBCD8C9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57619" y="2376488"/>
            <a:ext cx="3672000" cy="33432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1DA3C15-7E9D-4E22-895A-F50878BD33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54874" y="1710000"/>
            <a:ext cx="3672000" cy="604838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C41F52C9-6836-4FC9-99EA-1BF6FF01DF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154874" y="2376000"/>
            <a:ext cx="36720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93581B-25F6-45F4-A388-25B9169855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094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x content +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36FA1-AACD-4AC6-8977-227A1E820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A02C0-437A-4731-B690-16D1AFCAA8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7B4E-73B3-4F33-A7FC-00F64BC9B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0764FD-7DA2-4FE5-A31B-6691075F46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C0C4CA-E13F-460B-A188-81482902B70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05AA54-6669-4974-B1E8-3E58001D8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112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2A0DDBF-A8B7-4F77-B8D5-E6CF8FB015A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30112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93D7A9-75C8-4028-9CA8-F07E93F82E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224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9B5E2A26-6C2A-419D-B4DC-291BA85B0C8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224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DE92C5F-EFFE-48BF-93E1-CC78EFCD29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3360" y="1708149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DA85A52-F7FD-4298-9AE5-CB80F4E3C6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8336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4E88849-5449-4627-813B-31B40F08F0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448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9A7FC01F-A245-4C0F-BF24-3AAE6AC55CC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12448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CCD92EA-38A4-44E5-ADF7-78EA3D6DD0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65600" y="1708150"/>
            <a:ext cx="1760400" cy="6048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317D903-C6B2-443C-A2F2-E7B672E08E3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0065600" y="2376000"/>
            <a:ext cx="1760400" cy="334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D26D01CC-3541-4F97-AF97-73FF635203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29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62903-71A8-4BD2-B059-6BA4C3AA3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3EFCC3-809C-4472-825A-5268DA7595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A7757-8EC5-4D12-B56F-AB9F88D69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55437D9-CE22-451C-B458-B3F648A64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F169CDD-9FFC-4BEA-A4C1-F55F1EBC5A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2799" y="430717"/>
            <a:ext cx="5626800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248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FAACB8-7B00-457D-8F89-FB4DD9039A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556072-910B-4986-8C02-A52A75446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F34447-13E0-43B9-BE1F-C60C03555D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000" y="432000"/>
            <a:ext cx="5627561" cy="5468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D6BD01-6C23-44ED-8363-1C234E2533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2361" y="1708150"/>
            <a:ext cx="5626800" cy="399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AABB0-FC25-4DDA-B141-9861B8E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361" y="430718"/>
            <a:ext cx="562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289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698738-2E1C-4407-AE23-FC7C52247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DB932A-F9A4-4379-8F69-FA63BDFA24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47A58-42BF-4A47-A878-643A5CD2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C6D4BB-14E1-42DC-832A-2D0CE78632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3" y="910800"/>
            <a:ext cx="11466512" cy="39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321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B2F2EE-42BB-4EB6-8FC2-5E56E4F34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875A20-F354-407F-8F71-92C914742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7327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C880B-B2A1-4343-8F1B-D11FAEA2A2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430718"/>
            <a:ext cx="11466875" cy="40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1184D5-78E0-4646-8F38-C52C718FFF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02832-2B66-4562-9C71-D7D150739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F49FA9-6D89-44C4-B6C9-EA8D7FB7563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60362" y="1710000"/>
            <a:ext cx="2728800" cy="399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AD1D924-231B-4C18-8E90-2DFF9C04EF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2933" y="1710000"/>
            <a:ext cx="2728800" cy="399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EF0024D-3708-4302-8C69-256AD759387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85504" y="1710000"/>
            <a:ext cx="2728800" cy="399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E3415997-1B6E-4BEC-B682-F9280D0D5E3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098074" y="1710000"/>
            <a:ext cx="2728800" cy="399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7B1331-D3E0-4904-82E5-02B601057E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910800"/>
            <a:ext cx="11466000" cy="3960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22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image" Target="../media/image9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image" Target="../media/image9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image" Target="../media/image8.pn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theme" Target="../theme/theme4.xml"/><Relationship Id="rId28" Type="http://schemas.openxmlformats.org/officeDocument/2006/relationships/image" Target="../media/image19.emf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9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05F70E-6BF1-451B-AC5F-64819FD40883}"/>
              </a:ext>
            </a:extLst>
          </p:cNvPr>
          <p:cNvCxnSpPr>
            <a:cxnSpLocks/>
          </p:cNvCxnSpPr>
          <p:nvPr userDrawn="1">
            <p:custDataLst>
              <p:tags r:id="rId20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F2839183-ADD5-954D-8A52-84D78492432A}"/>
              </a:ext>
            </a:extLst>
          </p:cNvPr>
          <p:cNvGrpSpPr/>
          <p:nvPr userDrawn="1"/>
        </p:nvGrpSpPr>
        <p:grpSpPr>
          <a:xfrm>
            <a:off x="-1143000" y="-593723"/>
            <a:ext cx="13680281" cy="6916397"/>
            <a:chOff x="-1143000" y="-600255"/>
            <a:chExt cx="13680281" cy="6916397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254D440-5678-3C44-8E58-DD32F46D95B9}"/>
                </a:ext>
              </a:extLst>
            </p:cNvPr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11A1226-0640-C549-8678-8DF89FBF2868}"/>
                </a:ext>
              </a:extLst>
            </p:cNvPr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2A082F9-7342-2B4D-BB3B-8155EBF0CED8}"/>
                </a:ext>
              </a:extLst>
            </p:cNvPr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D199E2B-AFEF-2D41-8DAF-81833C60735B}"/>
                </a:ext>
              </a:extLst>
            </p:cNvPr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4.78cm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90C17BC-D89F-1E41-BBFD-3FC6CAC14B88}"/>
                </a:ext>
              </a:extLst>
            </p:cNvPr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0 cm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D0E52BB2-848C-5A4C-88F9-5C5741D196D6}"/>
                </a:ext>
              </a:extLst>
            </p:cNvPr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6.35 cm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2CA1320-577D-C140-A79A-83DFB0C956AE}"/>
                </a:ext>
              </a:extLst>
            </p:cNvPr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bg1"/>
                  </a:solidFill>
                </a:rPr>
                <a:t>15.93cm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5A0BDB7-B5DC-EA41-969A-A2CD31084ADB}"/>
                </a:ext>
              </a:extLst>
            </p:cNvPr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15.93 cm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0F45C9FC-288B-A342-BF3A-5F6E879336F3}"/>
                </a:ext>
              </a:extLst>
            </p:cNvPr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7209622-9205-C24B-A572-CE8E1C544782}"/>
                </a:ext>
              </a:extLst>
            </p:cNvPr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Content Bottom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6830D57-BD55-CD44-A404-8808401BA260}"/>
                </a:ext>
              </a:extLst>
            </p:cNvPr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Content Top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9B5FAF6F-D1E3-9740-8BCE-EF0EF35926F6}"/>
                </a:ext>
              </a:extLst>
            </p:cNvPr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Left Margin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4078B4B-B936-F44D-8574-0372A32F2B2C}"/>
                </a:ext>
              </a:extLst>
            </p:cNvPr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bg1"/>
                  </a:solidFill>
                </a:rPr>
                <a:t>Right Margin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1A27367E-EA6E-9844-AA2D-3EC50CC35ADF}"/>
                </a:ext>
              </a:extLst>
            </p:cNvPr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D92D94C-1764-784D-974B-6B5E8ED96CE8}"/>
                </a:ext>
              </a:extLst>
            </p:cNvPr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Middle </a:t>
              </a:r>
              <a:br>
                <a:rPr lang="en-GB" sz="800">
                  <a:solidFill>
                    <a:schemeClr val="bg1"/>
                  </a:solidFill>
                </a:rPr>
              </a:br>
              <a:r>
                <a:rPr lang="en-GB" sz="800">
                  <a:solidFill>
                    <a:schemeClr val="bg1"/>
                  </a:solidFill>
                </a:rPr>
                <a:t>0cm 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4B9DC28-28BE-1449-89A4-A146118B817B}"/>
                </a:ext>
              </a:extLst>
            </p:cNvPr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.26cm</a:t>
              </a: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52E7B55B-3BC6-9644-97A2-F8338C56A9F1}"/>
                </a:ext>
              </a:extLst>
            </p:cNvPr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05AA33C1-4914-974E-AEF2-66AAFB1690AD}"/>
                </a:ext>
              </a:extLst>
            </p:cNvPr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748FA331-8BB8-9942-ACE6-A044D44E0857}"/>
                </a:ext>
              </a:extLst>
            </p:cNvPr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.26cm</a:t>
              </a: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D8F6980-35D1-4C4F-B9A0-3EF7A4629781}"/>
                </a:ext>
              </a:extLst>
            </p:cNvPr>
            <p:cNvCxnSpPr/>
            <p:nvPr userDrawn="1"/>
          </p:nvCxnSpPr>
          <p:spPr>
            <a:xfrm>
              <a:off x="11836111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2777582E-D4BA-6649-B3AA-092D537F38FD}"/>
                </a:ext>
              </a:extLst>
            </p:cNvPr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B7F62CE8-9860-CA4F-9576-D484103DABAC}"/>
                </a:ext>
              </a:extLst>
            </p:cNvPr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8.33cm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716F71E-FAEC-0F45-93DC-F49192F92C25}"/>
                </a:ext>
              </a:extLst>
            </p:cNvPr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Title Top</a:t>
              </a: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F4CD87E5-1CE9-9745-BA65-E85D3C67FBAA}"/>
                </a:ext>
              </a:extLst>
            </p:cNvPr>
            <p:cNvCxnSpPr/>
            <p:nvPr userDrawn="1"/>
          </p:nvCxnSpPr>
          <p:spPr>
            <a:xfrm>
              <a:off x="-256200" y="614540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D4495854-7473-EA47-9DD0-40910AA0DC3B}"/>
                </a:ext>
              </a:extLst>
            </p:cNvPr>
            <p:cNvSpPr txBox="1"/>
            <p:nvPr userDrawn="1"/>
          </p:nvSpPr>
          <p:spPr>
            <a:xfrm>
              <a:off x="-747711" y="606992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7.54 cm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B44EB390-B594-744F-9F2F-751A9F5BB0B9}"/>
                </a:ext>
              </a:extLst>
            </p:cNvPr>
            <p:cNvSpPr txBox="1"/>
            <p:nvPr userDrawn="1"/>
          </p:nvSpPr>
          <p:spPr>
            <a:xfrm>
              <a:off x="-1143000" y="619303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bg1"/>
                  </a:solidFill>
                </a:rPr>
                <a:t>Image Bottom</a:t>
              </a:r>
            </a:p>
          </p:txBody>
        </p:sp>
      </p:grpSp>
      <p:pic>
        <p:nvPicPr>
          <p:cNvPr id="4" name="Kantar Logo">
            <a:extLst>
              <a:ext uri="{FF2B5EF4-FFF2-40B4-BE49-F238E27FC236}">
                <a16:creationId xmlns:a16="http://schemas.microsoft.com/office/drawing/2014/main" id="{D67036CF-2A5A-8723-3128-305DED752BE9}"/>
              </a:ext>
            </a:extLst>
          </p:cNvPr>
          <p:cNvPicPr>
            <a:picLocks noChangeAspect="1"/>
          </p:cNvPicPr>
          <p:nvPr userDrawn="1">
            <p:custDataLst>
              <p:tags r:id="rId21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59999" y="6390105"/>
            <a:ext cx="1033765" cy="195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14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8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100" kern="1200">
          <a:solidFill>
            <a:schemeClr val="bg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bg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bg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1440">
          <p15:clr>
            <a:srgbClr val="F26B43"/>
          </p15:clr>
        </p15:guide>
        <p15:guide id="37" pos="840">
          <p15:clr>
            <a:srgbClr val="F26B43"/>
          </p15:clr>
        </p15:guide>
        <p15:guide id="38" pos="2544">
          <p15:clr>
            <a:srgbClr val="F26B43"/>
          </p15:clr>
        </p15:guide>
        <p15:guide id="40" pos="3768">
          <p15:clr>
            <a:srgbClr val="F26B43"/>
          </p15:clr>
        </p15:guide>
        <p15:guide id="41" pos="1320">
          <p15:clr>
            <a:srgbClr val="F26B43"/>
          </p15:clr>
        </p15:guide>
        <p15:guide id="42" pos="5616">
          <p15:clr>
            <a:srgbClr val="F26B43"/>
          </p15:clr>
        </p15:guide>
        <p15:guide id="43" pos="4512">
          <p15:clr>
            <a:srgbClr val="F26B43"/>
          </p15:clr>
        </p15:guide>
        <p15:guide id="44" pos="3288">
          <p15:clr>
            <a:srgbClr val="F26B43"/>
          </p15:clr>
        </p15:guide>
        <p15:guide id="45" pos="3168">
          <p15:clr>
            <a:srgbClr val="F26B43"/>
          </p15:clr>
        </p15:guide>
        <p15:guide id="46" pos="2688">
          <p15:clr>
            <a:srgbClr val="F26B43"/>
          </p15:clr>
        </p15:guide>
        <p15:guide id="47" pos="1944">
          <p15:clr>
            <a:srgbClr val="F26B43"/>
          </p15:clr>
        </p15:guide>
        <p15:guide id="48" pos="2064">
          <p15:clr>
            <a:srgbClr val="F26B43"/>
          </p15:clr>
        </p15:guide>
        <p15:guide id="49" pos="4992">
          <p15:clr>
            <a:srgbClr val="F26B43"/>
          </p15:clr>
        </p15:guide>
        <p15:guide id="50" pos="6336">
          <p15:clr>
            <a:srgbClr val="F26B43"/>
          </p15:clr>
        </p15:guide>
        <p15:guide id="51" pos="4392">
          <p15:clr>
            <a:srgbClr val="F26B43"/>
          </p15:clr>
        </p15:guide>
        <p15:guide id="52" pos="5112">
          <p15:clr>
            <a:srgbClr val="F26B43"/>
          </p15:clr>
        </p15:guide>
        <p15:guide id="53" pos="720">
          <p15:clr>
            <a:srgbClr val="F26B43"/>
          </p15:clr>
        </p15:guide>
        <p15:guide id="54" pos="5736">
          <p15:clr>
            <a:srgbClr val="F26B43"/>
          </p15:clr>
        </p15:guide>
        <p15:guide id="55" pos="6216">
          <p15:clr>
            <a:srgbClr val="F26B43"/>
          </p15:clr>
        </p15:guide>
        <p15:guide id="56" pos="6840">
          <p15:clr>
            <a:srgbClr val="F26B43"/>
          </p15:clr>
        </p15:guide>
        <p15:guide id="57" pos="6960">
          <p15:clr>
            <a:srgbClr val="F26B43"/>
          </p15:clr>
        </p15:guide>
        <p15:guide id="58" pos="3912">
          <p15:clr>
            <a:srgbClr val="F26B43"/>
          </p15:clr>
        </p15:guide>
        <p15:guide id="65" orient="horz" pos="3864">
          <p15:clr>
            <a:srgbClr val="F26B43"/>
          </p15:clr>
        </p15:guide>
        <p15:guide id="66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143000" y="-600255"/>
            <a:ext cx="13680281" cy="6913023"/>
            <a:chOff x="-1143000" y="-600255"/>
            <a:chExt cx="13680281" cy="6913023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256200" y="614382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4.78cm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0 cm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6.35 cm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15.93cm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15.93 cm</a:t>
              </a:r>
            </a:p>
          </p:txBody>
        </p:sp>
        <p:cxnSp>
          <p:nvCxnSpPr>
            <p:cNvPr id="5" name="Straight Connector 4"/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Bottom</a:t>
              </a:r>
            </a:p>
          </p:txBody>
        </p:sp>
        <p:sp>
          <p:nvSpPr>
            <p:cNvPr id="86" name="TextBox 85"/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Top</a:t>
              </a:r>
            </a:p>
          </p:txBody>
        </p:sp>
        <p:sp>
          <p:nvSpPr>
            <p:cNvPr id="88" name="TextBox 87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Left Margin</a:t>
              </a:r>
            </a:p>
          </p:txBody>
        </p:sp>
        <p:sp>
          <p:nvSpPr>
            <p:cNvPr id="89" name="TextBox 88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Right Margin</a:t>
              </a:r>
            </a:p>
          </p:txBody>
        </p:sp>
        <p:cxnSp>
          <p:nvCxnSpPr>
            <p:cNvPr id="98" name="Straight Connector 97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Middle 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800">
                  <a:solidFill>
                    <a:schemeClr val="tx1"/>
                  </a:solidFill>
                </a:rPr>
                <a:t>0cm </a:t>
              </a:r>
            </a:p>
          </p:txBody>
        </p:sp>
        <p:sp>
          <p:nvSpPr>
            <p:cNvPr id="101" name="TextBox 100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04" name="Straight Connector 103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Box 105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07" name="Straight Connector 106"/>
            <p:cNvCxnSpPr/>
            <p:nvPr userDrawn="1"/>
          </p:nvCxnSpPr>
          <p:spPr>
            <a:xfrm>
              <a:off x="11836111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/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8.33cm</a:t>
              </a:r>
            </a:p>
          </p:txBody>
        </p:sp>
        <p:sp>
          <p:nvSpPr>
            <p:cNvPr id="110" name="TextBox 109"/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Title To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925CEB6-6DDA-49BF-824C-CFA9D8A07E3F}"/>
                </a:ext>
              </a:extLst>
            </p:cNvPr>
            <p:cNvSpPr txBox="1"/>
            <p:nvPr userDrawn="1"/>
          </p:nvSpPr>
          <p:spPr>
            <a:xfrm>
              <a:off x="-747711" y="606654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7.54 c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1658A23-15A2-4406-AF7E-89707B5575E7}"/>
                </a:ext>
              </a:extLst>
            </p:cNvPr>
            <p:cNvSpPr txBox="1"/>
            <p:nvPr userDrawn="1"/>
          </p:nvSpPr>
          <p:spPr>
            <a:xfrm>
              <a:off x="-1143000" y="618965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Image Bottom</a:t>
              </a: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05F70E-6BF1-451B-AC5F-64819FD40883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phic 36">
            <a:extLst>
              <a:ext uri="{FF2B5EF4-FFF2-40B4-BE49-F238E27FC236}">
                <a16:creationId xmlns:a16="http://schemas.microsoft.com/office/drawing/2014/main" id="{2CC2F24E-468A-4212-A014-115B799B0109}"/>
              </a:ext>
            </a:extLst>
          </p:cNvPr>
          <p:cNvPicPr>
            <a:picLocks noChangeAspect="1"/>
          </p:cNvPicPr>
          <p:nvPr userDrawn="1">
            <p:custDataLst>
              <p:tags r:id="rId25"/>
            </p:custDataLst>
          </p:nvPr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47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3840">
          <p15:clr>
            <a:srgbClr val="F26B43"/>
          </p15:clr>
        </p15:guide>
        <p15:guide id="37" pos="3782">
          <p15:clr>
            <a:srgbClr val="F26B43"/>
          </p15:clr>
        </p15:guide>
        <p15:guide id="38" pos="3900">
          <p15:clr>
            <a:srgbClr val="F26B43"/>
          </p15:clr>
        </p15:guide>
        <p15:guide id="39" orient="horz" pos="38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05F70E-6BF1-451B-AC5F-64819FD40883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>
            <a:extLst>
              <a:ext uri="{FF2B5EF4-FFF2-40B4-BE49-F238E27FC236}">
                <a16:creationId xmlns:a16="http://schemas.microsoft.com/office/drawing/2014/main" id="{7B7CA491-29AF-4154-90A3-E0D2BFCEB75D}"/>
              </a:ext>
            </a:extLst>
          </p:cNvPr>
          <p:cNvPicPr>
            <a:picLocks noChangeAspect="1"/>
          </p:cNvPicPr>
          <p:nvPr userDrawn="1">
            <p:custDataLst>
              <p:tags r:id="rId25"/>
            </p:custDataLst>
          </p:nvPr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6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F2839183-ADD5-954D-8A52-84D78492432A}"/>
              </a:ext>
            </a:extLst>
          </p:cNvPr>
          <p:cNvGrpSpPr/>
          <p:nvPr userDrawn="1"/>
        </p:nvGrpSpPr>
        <p:grpSpPr>
          <a:xfrm>
            <a:off x="-1143000" y="-593723"/>
            <a:ext cx="13680281" cy="6916397"/>
            <a:chOff x="-1143000" y="-600255"/>
            <a:chExt cx="13680281" cy="6916397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254D440-5678-3C44-8E58-DD32F46D95B9}"/>
                </a:ext>
              </a:extLst>
            </p:cNvPr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11A1226-0640-C549-8678-8DF89FBF2868}"/>
                </a:ext>
              </a:extLst>
            </p:cNvPr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2A082F9-7342-2B4D-BB3B-8155EBF0CED8}"/>
                </a:ext>
              </a:extLst>
            </p:cNvPr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D199E2B-AFEF-2D41-8DAF-81833C60735B}"/>
                </a:ext>
              </a:extLst>
            </p:cNvPr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4.78cm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90C17BC-D89F-1E41-BBFD-3FC6CAC14B88}"/>
                </a:ext>
              </a:extLst>
            </p:cNvPr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0 cm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D0E52BB2-848C-5A4C-88F9-5C5741D196D6}"/>
                </a:ext>
              </a:extLst>
            </p:cNvPr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6.35 cm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2CA1320-577D-C140-A79A-83DFB0C956AE}"/>
                </a:ext>
              </a:extLst>
            </p:cNvPr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15.93cm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5A0BDB7-B5DC-EA41-969A-A2CD31084ADB}"/>
                </a:ext>
              </a:extLst>
            </p:cNvPr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15.93 cm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0F45C9FC-288B-A342-BF3A-5F6E879336F3}"/>
                </a:ext>
              </a:extLst>
            </p:cNvPr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7209622-9205-C24B-A572-CE8E1C544782}"/>
                </a:ext>
              </a:extLst>
            </p:cNvPr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Bottom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6830D57-BD55-CD44-A404-8808401BA260}"/>
                </a:ext>
              </a:extLst>
            </p:cNvPr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Top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9B5FAF6F-D1E3-9740-8BCE-EF0EF35926F6}"/>
                </a:ext>
              </a:extLst>
            </p:cNvPr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Left Margin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4078B4B-B936-F44D-8574-0372A32F2B2C}"/>
                </a:ext>
              </a:extLst>
            </p:cNvPr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Right Margin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1A27367E-EA6E-9844-AA2D-3EC50CC35ADF}"/>
                </a:ext>
              </a:extLst>
            </p:cNvPr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D92D94C-1764-784D-974B-6B5E8ED96CE8}"/>
                </a:ext>
              </a:extLst>
            </p:cNvPr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Middle 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800">
                  <a:solidFill>
                    <a:schemeClr val="tx1"/>
                  </a:solidFill>
                </a:rPr>
                <a:t>0cm 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4B9DC28-28BE-1449-89A4-A146118B817B}"/>
                </a:ext>
              </a:extLst>
            </p:cNvPr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52E7B55B-3BC6-9644-97A2-F8338C56A9F1}"/>
                </a:ext>
              </a:extLst>
            </p:cNvPr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05AA33C1-4914-974E-AEF2-66AAFB1690AD}"/>
                </a:ext>
              </a:extLst>
            </p:cNvPr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748FA331-8BB8-9942-ACE6-A044D44E0857}"/>
                </a:ext>
              </a:extLst>
            </p:cNvPr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D8F6980-35D1-4C4F-B9A0-3EF7A4629781}"/>
                </a:ext>
              </a:extLst>
            </p:cNvPr>
            <p:cNvCxnSpPr/>
            <p:nvPr userDrawn="1"/>
          </p:nvCxnSpPr>
          <p:spPr>
            <a:xfrm>
              <a:off x="11836111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2777582E-D4BA-6649-B3AA-092D537F38FD}"/>
                </a:ext>
              </a:extLst>
            </p:cNvPr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B7F62CE8-9860-CA4F-9576-D484103DABAC}"/>
                </a:ext>
              </a:extLst>
            </p:cNvPr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8.33cm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716F71E-FAEC-0F45-93DC-F49192F92C25}"/>
                </a:ext>
              </a:extLst>
            </p:cNvPr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Title Top</a:t>
              </a: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F4CD87E5-1CE9-9745-BA65-E85D3C67FBAA}"/>
                </a:ext>
              </a:extLst>
            </p:cNvPr>
            <p:cNvCxnSpPr/>
            <p:nvPr userDrawn="1"/>
          </p:nvCxnSpPr>
          <p:spPr>
            <a:xfrm>
              <a:off x="-256200" y="614540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D4495854-7473-EA47-9DD0-40910AA0DC3B}"/>
                </a:ext>
              </a:extLst>
            </p:cNvPr>
            <p:cNvSpPr txBox="1"/>
            <p:nvPr userDrawn="1"/>
          </p:nvSpPr>
          <p:spPr>
            <a:xfrm>
              <a:off x="-747711" y="606992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7.54 cm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B44EB390-B594-744F-9F2F-751A9F5BB0B9}"/>
                </a:ext>
              </a:extLst>
            </p:cNvPr>
            <p:cNvSpPr txBox="1"/>
            <p:nvPr userDrawn="1"/>
          </p:nvSpPr>
          <p:spPr>
            <a:xfrm>
              <a:off x="-1143000" y="619303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Image Bott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5011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1440">
          <p15:clr>
            <a:srgbClr val="F26B43"/>
          </p15:clr>
        </p15:guide>
        <p15:guide id="37" pos="840">
          <p15:clr>
            <a:srgbClr val="F26B43"/>
          </p15:clr>
        </p15:guide>
        <p15:guide id="38" pos="2544">
          <p15:clr>
            <a:srgbClr val="F26B43"/>
          </p15:clr>
        </p15:guide>
        <p15:guide id="40" pos="3768">
          <p15:clr>
            <a:srgbClr val="F26B43"/>
          </p15:clr>
        </p15:guide>
        <p15:guide id="41" pos="1320">
          <p15:clr>
            <a:srgbClr val="F26B43"/>
          </p15:clr>
        </p15:guide>
        <p15:guide id="42" pos="5616">
          <p15:clr>
            <a:srgbClr val="F26B43"/>
          </p15:clr>
        </p15:guide>
        <p15:guide id="43" pos="4512">
          <p15:clr>
            <a:srgbClr val="F26B43"/>
          </p15:clr>
        </p15:guide>
        <p15:guide id="44" pos="3288">
          <p15:clr>
            <a:srgbClr val="F26B43"/>
          </p15:clr>
        </p15:guide>
        <p15:guide id="45" pos="3168">
          <p15:clr>
            <a:srgbClr val="F26B43"/>
          </p15:clr>
        </p15:guide>
        <p15:guide id="46" pos="2688">
          <p15:clr>
            <a:srgbClr val="F26B43"/>
          </p15:clr>
        </p15:guide>
        <p15:guide id="47" pos="1944">
          <p15:clr>
            <a:srgbClr val="F26B43"/>
          </p15:clr>
        </p15:guide>
        <p15:guide id="48" pos="2064">
          <p15:clr>
            <a:srgbClr val="F26B43"/>
          </p15:clr>
        </p15:guide>
        <p15:guide id="49" pos="4992">
          <p15:clr>
            <a:srgbClr val="F26B43"/>
          </p15:clr>
        </p15:guide>
        <p15:guide id="50" pos="6336">
          <p15:clr>
            <a:srgbClr val="F26B43"/>
          </p15:clr>
        </p15:guide>
        <p15:guide id="51" pos="4392">
          <p15:clr>
            <a:srgbClr val="F26B43"/>
          </p15:clr>
        </p15:guide>
        <p15:guide id="52" pos="5112">
          <p15:clr>
            <a:srgbClr val="F26B43"/>
          </p15:clr>
        </p15:guide>
        <p15:guide id="53" pos="720">
          <p15:clr>
            <a:srgbClr val="F26B43"/>
          </p15:clr>
        </p15:guide>
        <p15:guide id="54" pos="5736">
          <p15:clr>
            <a:srgbClr val="F26B43"/>
          </p15:clr>
        </p15:guide>
        <p15:guide id="55" pos="6216">
          <p15:clr>
            <a:srgbClr val="F26B43"/>
          </p15:clr>
        </p15:guide>
        <p15:guide id="56" pos="6840">
          <p15:clr>
            <a:srgbClr val="F26B43"/>
          </p15:clr>
        </p15:guide>
        <p15:guide id="57" pos="6960">
          <p15:clr>
            <a:srgbClr val="F26B43"/>
          </p15:clr>
        </p15:guide>
        <p15:guide id="58" pos="3912">
          <p15:clr>
            <a:srgbClr val="F26B43"/>
          </p15:clr>
        </p15:guide>
        <p15:guide id="65" orient="horz" pos="3864">
          <p15:clr>
            <a:srgbClr val="F26B43"/>
          </p15:clr>
        </p15:guide>
        <p15:guide id="66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BDAB92-5849-3D9E-06A5-21020E4604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83825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BDAB92-5849-3D9E-06A5-21020E460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359999" y="430718"/>
            <a:ext cx="11466875" cy="40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359999" y="1710000"/>
            <a:ext cx="11466875" cy="399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56913" y="6390000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72400" y="6390000"/>
            <a:ext cx="7495200" cy="19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805F70E-6BF1-451B-AC5F-64819FD40883}"/>
              </a:ext>
            </a:extLst>
          </p:cNvPr>
          <p:cNvCxnSpPr>
            <a:cxnSpLocks/>
          </p:cNvCxnSpPr>
          <p:nvPr userDrawn="1">
            <p:custDataLst>
              <p:tags r:id="rId25"/>
            </p:custDataLst>
          </p:nvPr>
        </p:nvCxnSpPr>
        <p:spPr>
          <a:xfrm>
            <a:off x="360000" y="6120000"/>
            <a:ext cx="11474161" cy="0"/>
          </a:xfrm>
          <a:prstGeom prst="line">
            <a:avLst/>
          </a:prstGeom>
          <a:ln w="381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>
            <a:extLst>
              <a:ext uri="{FF2B5EF4-FFF2-40B4-BE49-F238E27FC236}">
                <a16:creationId xmlns:a16="http://schemas.microsoft.com/office/drawing/2014/main" id="{7B7CA491-29AF-4154-90A3-E0D2BFCEB75D}"/>
              </a:ext>
            </a:extLst>
          </p:cNvPr>
          <p:cNvPicPr>
            <a:picLocks noChangeAspect="1"/>
          </p:cNvPicPr>
          <p:nvPr userDrawn="1">
            <p:custDataLst>
              <p:tags r:id="rId26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59999" y="6390412"/>
            <a:ext cx="1080272" cy="204376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F2839183-ADD5-954D-8A52-84D78492432A}"/>
              </a:ext>
            </a:extLst>
          </p:cNvPr>
          <p:cNvGrpSpPr/>
          <p:nvPr userDrawn="1"/>
        </p:nvGrpSpPr>
        <p:grpSpPr>
          <a:xfrm>
            <a:off x="-1143000" y="-593723"/>
            <a:ext cx="13680281" cy="6916397"/>
            <a:chOff x="-1143000" y="-600255"/>
            <a:chExt cx="13680281" cy="6916397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254D440-5678-3C44-8E58-DD32F46D95B9}"/>
                </a:ext>
              </a:extLst>
            </p:cNvPr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11A1226-0640-C549-8678-8DF89FBF2868}"/>
                </a:ext>
              </a:extLst>
            </p:cNvPr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2A082F9-7342-2B4D-BB3B-8155EBF0CED8}"/>
                </a:ext>
              </a:extLst>
            </p:cNvPr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D199E2B-AFEF-2D41-8DAF-81833C60735B}"/>
                </a:ext>
              </a:extLst>
            </p:cNvPr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4.78cm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90C17BC-D89F-1E41-BBFD-3FC6CAC14B88}"/>
                </a:ext>
              </a:extLst>
            </p:cNvPr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0 cm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D0E52BB2-848C-5A4C-88F9-5C5741D196D6}"/>
                </a:ext>
              </a:extLst>
            </p:cNvPr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6.35 cm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62CA1320-577D-C140-A79A-83DFB0C956AE}"/>
                </a:ext>
              </a:extLst>
            </p:cNvPr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15.93cm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5A0BDB7-B5DC-EA41-969A-A2CD31084ADB}"/>
                </a:ext>
              </a:extLst>
            </p:cNvPr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15.93 cm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0F45C9FC-288B-A342-BF3A-5F6E879336F3}"/>
                </a:ext>
              </a:extLst>
            </p:cNvPr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7209622-9205-C24B-A572-CE8E1C544782}"/>
                </a:ext>
              </a:extLst>
            </p:cNvPr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Bottom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6830D57-BD55-CD44-A404-8808401BA260}"/>
                </a:ext>
              </a:extLst>
            </p:cNvPr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Content Top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9B5FAF6F-D1E3-9740-8BCE-EF0EF35926F6}"/>
                </a:ext>
              </a:extLst>
            </p:cNvPr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Left Margin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4078B4B-B936-F44D-8574-0372A32F2B2C}"/>
                </a:ext>
              </a:extLst>
            </p:cNvPr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800">
                  <a:solidFill>
                    <a:schemeClr val="tx1"/>
                  </a:solidFill>
                </a:rPr>
                <a:t>Right Margin</a:t>
              </a:r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1A27367E-EA6E-9844-AA2D-3EC50CC35ADF}"/>
                </a:ext>
              </a:extLst>
            </p:cNvPr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D92D94C-1764-784D-974B-6B5E8ED96CE8}"/>
                </a:ext>
              </a:extLst>
            </p:cNvPr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Middle </a:t>
              </a:r>
              <a:br>
                <a:rPr lang="en-GB" sz="800">
                  <a:solidFill>
                    <a:schemeClr val="tx1"/>
                  </a:solidFill>
                </a:rPr>
              </a:br>
              <a:r>
                <a:rPr lang="en-GB" sz="800">
                  <a:solidFill>
                    <a:schemeClr val="tx1"/>
                  </a:solidFill>
                </a:rPr>
                <a:t>0cm 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A4B9DC28-28BE-1449-89A4-A146118B817B}"/>
                </a:ext>
              </a:extLst>
            </p:cNvPr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52E7B55B-3BC6-9644-97A2-F8338C56A9F1}"/>
                </a:ext>
              </a:extLst>
            </p:cNvPr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05AA33C1-4914-974E-AEF2-66AAFB1690AD}"/>
                </a:ext>
              </a:extLst>
            </p:cNvPr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748FA331-8BB8-9942-ACE6-A044D44E0857}"/>
                </a:ext>
              </a:extLst>
            </p:cNvPr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0.26cm</a:t>
              </a:r>
            </a:p>
          </p:txBody>
        </p: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D8F6980-35D1-4C4F-B9A0-3EF7A4629781}"/>
                </a:ext>
              </a:extLst>
            </p:cNvPr>
            <p:cNvCxnSpPr/>
            <p:nvPr userDrawn="1"/>
          </p:nvCxnSpPr>
          <p:spPr>
            <a:xfrm>
              <a:off x="11836111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2777582E-D4BA-6649-B3AA-092D537F38FD}"/>
                </a:ext>
              </a:extLst>
            </p:cNvPr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B7F62CE8-9860-CA4F-9576-D484103DABAC}"/>
                </a:ext>
              </a:extLst>
            </p:cNvPr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8.33cm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716F71E-FAEC-0F45-93DC-F49192F92C25}"/>
                </a:ext>
              </a:extLst>
            </p:cNvPr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Title Top</a:t>
              </a: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F4CD87E5-1CE9-9745-BA65-E85D3C67FBAA}"/>
                </a:ext>
              </a:extLst>
            </p:cNvPr>
            <p:cNvCxnSpPr/>
            <p:nvPr userDrawn="1"/>
          </p:nvCxnSpPr>
          <p:spPr>
            <a:xfrm>
              <a:off x="-256200" y="614540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D4495854-7473-EA47-9DD0-40910AA0DC3B}"/>
                </a:ext>
              </a:extLst>
            </p:cNvPr>
            <p:cNvSpPr txBox="1"/>
            <p:nvPr userDrawn="1"/>
          </p:nvSpPr>
          <p:spPr>
            <a:xfrm>
              <a:off x="-747711" y="6069920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7.54 cm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B44EB390-B594-744F-9F2F-751A9F5BB0B9}"/>
                </a:ext>
              </a:extLst>
            </p:cNvPr>
            <p:cNvSpPr txBox="1"/>
            <p:nvPr userDrawn="1"/>
          </p:nvSpPr>
          <p:spPr>
            <a:xfrm>
              <a:off x="-1143000" y="6193031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GB" sz="800">
                  <a:solidFill>
                    <a:schemeClr val="tx1"/>
                  </a:solidFill>
                </a:rPr>
                <a:t>Image Bott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0849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>
          <p15:clr>
            <a:srgbClr val="F26B43"/>
          </p15:clr>
        </p15:guide>
        <p15:guide id="14" pos="7453">
          <p15:clr>
            <a:srgbClr val="F26B43"/>
          </p15:clr>
        </p15:guide>
        <p15:guide id="28" orient="horz" pos="1076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5" pos="228">
          <p15:clr>
            <a:srgbClr val="F26B43"/>
          </p15:clr>
        </p15:guide>
        <p15:guide id="36" pos="1440">
          <p15:clr>
            <a:srgbClr val="F26B43"/>
          </p15:clr>
        </p15:guide>
        <p15:guide id="37" pos="840">
          <p15:clr>
            <a:srgbClr val="F26B43"/>
          </p15:clr>
        </p15:guide>
        <p15:guide id="38" pos="2544">
          <p15:clr>
            <a:srgbClr val="F26B43"/>
          </p15:clr>
        </p15:guide>
        <p15:guide id="40" pos="3768">
          <p15:clr>
            <a:srgbClr val="F26B43"/>
          </p15:clr>
        </p15:guide>
        <p15:guide id="41" pos="1320">
          <p15:clr>
            <a:srgbClr val="F26B43"/>
          </p15:clr>
        </p15:guide>
        <p15:guide id="42" pos="5616">
          <p15:clr>
            <a:srgbClr val="F26B43"/>
          </p15:clr>
        </p15:guide>
        <p15:guide id="43" pos="4512">
          <p15:clr>
            <a:srgbClr val="F26B43"/>
          </p15:clr>
        </p15:guide>
        <p15:guide id="44" pos="3288">
          <p15:clr>
            <a:srgbClr val="F26B43"/>
          </p15:clr>
        </p15:guide>
        <p15:guide id="45" pos="3168">
          <p15:clr>
            <a:srgbClr val="F26B43"/>
          </p15:clr>
        </p15:guide>
        <p15:guide id="46" pos="2688">
          <p15:clr>
            <a:srgbClr val="F26B43"/>
          </p15:clr>
        </p15:guide>
        <p15:guide id="47" pos="1944">
          <p15:clr>
            <a:srgbClr val="F26B43"/>
          </p15:clr>
        </p15:guide>
        <p15:guide id="48" pos="2064">
          <p15:clr>
            <a:srgbClr val="F26B43"/>
          </p15:clr>
        </p15:guide>
        <p15:guide id="49" pos="4992">
          <p15:clr>
            <a:srgbClr val="F26B43"/>
          </p15:clr>
        </p15:guide>
        <p15:guide id="50" pos="6336">
          <p15:clr>
            <a:srgbClr val="F26B43"/>
          </p15:clr>
        </p15:guide>
        <p15:guide id="51" pos="4392">
          <p15:clr>
            <a:srgbClr val="F26B43"/>
          </p15:clr>
        </p15:guide>
        <p15:guide id="52" pos="5112">
          <p15:clr>
            <a:srgbClr val="F26B43"/>
          </p15:clr>
        </p15:guide>
        <p15:guide id="53" pos="720">
          <p15:clr>
            <a:srgbClr val="F26B43"/>
          </p15:clr>
        </p15:guide>
        <p15:guide id="54" pos="5736">
          <p15:clr>
            <a:srgbClr val="F26B43"/>
          </p15:clr>
        </p15:guide>
        <p15:guide id="55" pos="6216">
          <p15:clr>
            <a:srgbClr val="F26B43"/>
          </p15:clr>
        </p15:guide>
        <p15:guide id="56" pos="6840">
          <p15:clr>
            <a:srgbClr val="F26B43"/>
          </p15:clr>
        </p15:guide>
        <p15:guide id="57" pos="6960">
          <p15:clr>
            <a:srgbClr val="F26B43"/>
          </p15:clr>
        </p15:guide>
        <p15:guide id="58" pos="3912">
          <p15:clr>
            <a:srgbClr val="F26B43"/>
          </p15:clr>
        </p15:guide>
        <p15:guide id="65" orient="horz" pos="3864">
          <p15:clr>
            <a:srgbClr val="F26B43"/>
          </p15:clr>
        </p15:guide>
        <p15:guide id="6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9.xml"/><Relationship Id="rId6" Type="http://schemas.openxmlformats.org/officeDocument/2006/relationships/image" Target="../media/image20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22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DE75C0C-DEE1-5344-E4A7-4A1A127043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A78B68-C434-564D-BC61-54572718D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000" y="1724763"/>
            <a:ext cx="3521075" cy="1022350"/>
          </a:xfrm>
        </p:spPr>
        <p:txBody>
          <a:bodyPr/>
          <a:lstStyle/>
          <a:p>
            <a:r>
              <a:rPr lang="ro-RO" dirty="0"/>
              <a:t>14</a:t>
            </a:r>
            <a:r>
              <a:rPr lang="en-US" dirty="0"/>
              <a:t> </a:t>
            </a:r>
            <a:r>
              <a:rPr lang="ro-RO" dirty="0"/>
              <a:t>mai</a:t>
            </a:r>
            <a:r>
              <a:rPr lang="en-US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233077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487B3AD-5681-759A-4449-97ABBD932091}"/>
              </a:ext>
            </a:extLst>
          </p:cNvPr>
          <p:cNvSpPr txBox="1"/>
          <p:nvPr/>
        </p:nvSpPr>
        <p:spPr>
          <a:xfrm>
            <a:off x="4409995" y="3756170"/>
            <a:ext cx="3487464" cy="830997"/>
          </a:xfrm>
          <a:prstGeom prst="rect">
            <a:avLst/>
          </a:prstGeom>
          <a:solidFill>
            <a:schemeClr val="bg1">
              <a:alpha val="22385"/>
            </a:schemeClr>
          </a:solidFill>
          <a:ln w="12700">
            <a:solidFill>
              <a:schemeClr val="bg1"/>
            </a:solidFill>
          </a:ln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Kantar Brown" panose="020B0504020101010102" pitchFamily="34" charset="77"/>
                <a:cs typeface="Kantar Brown" panose="020B0504020101010102" pitchFamily="34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 Light"/>
                <a:ea typeface="+mn-ea"/>
                <a:cs typeface="Kantar Brown Light" panose="020B0404020101010102" pitchFamily="34" charset="77"/>
              </a:rPr>
              <a:t>BE MOR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/>
                <a:ea typeface="+mn-ea"/>
                <a:cs typeface="Kantar Brown" panose="020B0504020101010102" pitchFamily="34" charset="77"/>
              </a:rPr>
              <a:t>PRESENT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</a:b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ntar Brown" panose="020B0504020101010102" pitchFamily="34" charset="77"/>
              <a:ea typeface="+mn-ea"/>
              <a:cs typeface="Kantar Brown" panose="020B0504020101010102" pitchFamily="34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A1B926-DF2E-8F6B-901A-F9821EEC5D3B}"/>
              </a:ext>
            </a:extLst>
          </p:cNvPr>
          <p:cNvSpPr txBox="1"/>
          <p:nvPr/>
        </p:nvSpPr>
        <p:spPr>
          <a:xfrm>
            <a:off x="382747" y="3761943"/>
            <a:ext cx="3776100" cy="830997"/>
          </a:xfrm>
          <a:prstGeom prst="rect">
            <a:avLst/>
          </a:prstGeom>
          <a:solidFill>
            <a:schemeClr val="bg1">
              <a:alpha val="22385"/>
            </a:schemeClr>
          </a:solidFill>
          <a:ln w="12700">
            <a:solidFill>
              <a:schemeClr val="bg1"/>
            </a:solidFill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 Light"/>
                <a:ea typeface="+mn-ea"/>
                <a:cs typeface="Kantar Brown" panose="020B0504020101010102" pitchFamily="34" charset="77"/>
              </a:rPr>
              <a:t>PREDISPOS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  <a:t>MORE PEOPLE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</a:b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ntar Brown" panose="020B0504020101010102" pitchFamily="34" charset="77"/>
              <a:ea typeface="+mn-ea"/>
              <a:cs typeface="Kantar Brown" panose="020B0504020101010102" pitchFamily="34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BE31AA-5F48-7AB3-E11F-9E92FB4392D5}"/>
              </a:ext>
            </a:extLst>
          </p:cNvPr>
          <p:cNvSpPr txBox="1"/>
          <p:nvPr/>
        </p:nvSpPr>
        <p:spPr>
          <a:xfrm>
            <a:off x="8145094" y="3756170"/>
            <a:ext cx="3487464" cy="830997"/>
          </a:xfrm>
          <a:prstGeom prst="rect">
            <a:avLst/>
          </a:prstGeom>
          <a:solidFill>
            <a:schemeClr val="bg1">
              <a:alpha val="22385"/>
            </a:schemeClr>
          </a:solidFill>
          <a:ln w="12700"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1"/>
                </a:solidFill>
                <a:latin typeface="Kantar Brown" panose="020B0504020101010102" pitchFamily="34" charset="77"/>
                <a:cs typeface="Kantar Brown" panose="020B0504020101010102" pitchFamily="34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 Light" panose="020B0404020101010102" pitchFamily="34" charset="77"/>
                <a:ea typeface="+mn-ea"/>
                <a:cs typeface="Kantar Brown Light" panose="020B0404020101010102" pitchFamily="34" charset="77"/>
              </a:rPr>
              <a:t>FIND NEW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  <a:t>SPACE</a:t>
            </a:r>
            <a:b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</a:b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ntar Brown" panose="020B0504020101010102" pitchFamily="34" charset="77"/>
              <a:ea typeface="+mn-ea"/>
              <a:cs typeface="Kantar Brown" panose="020B0504020101010102" pitchFamily="34" charset="7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58E69FC-9B52-2A78-B711-7AA8216DF3B0}"/>
              </a:ext>
            </a:extLst>
          </p:cNvPr>
          <p:cNvSpPr txBox="1"/>
          <p:nvPr/>
        </p:nvSpPr>
        <p:spPr>
          <a:xfrm>
            <a:off x="3355062" y="5349138"/>
            <a:ext cx="547729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  <a:t>POWERED BY THE MEANINGFUL DIFFERENT &amp; SALIENT (MDS) FRAMEWORK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ntar Brown" panose="020B0504020101010102" pitchFamily="34" charset="77"/>
              <a:ea typeface="+mn-ea"/>
              <a:cs typeface="Kantar Brown" panose="020B0504020101010102" pitchFamily="34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4C6B6F-7296-EF2F-DCE2-4E0D9808C7A3}"/>
              </a:ext>
            </a:extLst>
          </p:cNvPr>
          <p:cNvSpPr txBox="1"/>
          <p:nvPr/>
        </p:nvSpPr>
        <p:spPr>
          <a:xfrm>
            <a:off x="3190503" y="4957031"/>
            <a:ext cx="59280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  <a:t>BEST PRACTICE: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  <a:t>CONSISTENT, CONNECTED, OPTIMISE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D099E52-F313-8194-CC51-3655B169C91C}"/>
              </a:ext>
            </a:extLst>
          </p:cNvPr>
          <p:cNvSpPr txBox="1"/>
          <p:nvPr/>
        </p:nvSpPr>
        <p:spPr>
          <a:xfrm>
            <a:off x="2709277" y="3272840"/>
            <a:ext cx="662738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Kantar Brown" panose="020B0504020101010102" pitchFamily="34" charset="77"/>
                <a:ea typeface="+mn-ea"/>
                <a:cs typeface="Kantar Brown" panose="020B0504020101010102" pitchFamily="34" charset="77"/>
              </a:rPr>
              <a:t>How winning marketers operationalise this effectively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3C64476-60C8-59AE-853E-8C8D4B8D060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9002" y="421268"/>
            <a:ext cx="1075261" cy="203428"/>
          </a:xfrm>
          <a:prstGeom prst="rect">
            <a:avLst/>
          </a:prstGeom>
        </p:spPr>
      </p:pic>
      <p:cxnSp>
        <p:nvCxnSpPr>
          <p:cNvPr id="10" name="Elbow Connector 9">
            <a:extLst>
              <a:ext uri="{FF2B5EF4-FFF2-40B4-BE49-F238E27FC236}">
                <a16:creationId xmlns:a16="http://schemas.microsoft.com/office/drawing/2014/main" id="{AE2B378D-B3AB-FFED-7BB9-E0FE499E2492}"/>
              </a:ext>
            </a:extLst>
          </p:cNvPr>
          <p:cNvCxnSpPr>
            <a:cxnSpLocks/>
            <a:endCxn id="3" idx="1"/>
          </p:cNvCxnSpPr>
          <p:nvPr/>
        </p:nvCxnSpPr>
        <p:spPr>
          <a:xfrm flipH="1">
            <a:off x="382748" y="3413358"/>
            <a:ext cx="2246420" cy="764084"/>
          </a:xfrm>
          <a:prstGeom prst="bentConnector3">
            <a:avLst>
              <a:gd name="adj1" fmla="val 108578"/>
            </a:avLst>
          </a:prstGeom>
          <a:ln w="1270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8F01AB8B-3ADD-6AF6-00D5-7C3FEB0E5637}"/>
              </a:ext>
            </a:extLst>
          </p:cNvPr>
          <p:cNvCxnSpPr>
            <a:cxnSpLocks/>
            <a:endCxn id="5" idx="3"/>
          </p:cNvCxnSpPr>
          <p:nvPr/>
        </p:nvCxnSpPr>
        <p:spPr>
          <a:xfrm>
            <a:off x="9433255" y="3413358"/>
            <a:ext cx="2199303" cy="758311"/>
          </a:xfrm>
          <a:prstGeom prst="bentConnector3">
            <a:avLst>
              <a:gd name="adj1" fmla="val 108732"/>
            </a:avLst>
          </a:prstGeom>
          <a:ln w="1270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954CC1A-6F7E-04CD-09E3-5245F9298C70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 flipV="1">
            <a:off x="4158847" y="4171669"/>
            <a:ext cx="251148" cy="5773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7442CD7-B899-6597-0DDA-EFC608DEB3B2}"/>
              </a:ext>
            </a:extLst>
          </p:cNvPr>
          <p:cNvCxnSpPr>
            <a:cxnSpLocks/>
            <a:stCxn id="2" idx="3"/>
            <a:endCxn id="5" idx="1"/>
          </p:cNvCxnSpPr>
          <p:nvPr/>
        </p:nvCxnSpPr>
        <p:spPr>
          <a:xfrm>
            <a:off x="7897459" y="4171669"/>
            <a:ext cx="247635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266EDC55-5491-79CF-9086-9C759636E8A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1656" t="18806" r="24348" b="14085"/>
          <a:stretch/>
        </p:blipFill>
        <p:spPr>
          <a:xfrm>
            <a:off x="4284421" y="646150"/>
            <a:ext cx="3487465" cy="243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52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purple gradient&#10;&#10;Description automatically generated with low confidence">
            <a:extLst>
              <a:ext uri="{FF2B5EF4-FFF2-40B4-BE49-F238E27FC236}">
                <a16:creationId xmlns:a16="http://schemas.microsoft.com/office/drawing/2014/main" id="{377739B8-AB3F-BC07-7C4D-761F9EAA0AF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19053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C0D68CD-8654-FE02-03D7-BFE759D0A2A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46"/>
            <a:ext cx="3898900" cy="6858000"/>
          </a:xfrm>
          <a:prstGeom prst="rect">
            <a:avLst/>
          </a:prstGeom>
        </p:spPr>
      </p:pic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030A83B9-0280-9EC5-AE2B-334C1A9964B1}"/>
              </a:ext>
            </a:extLst>
          </p:cNvPr>
          <p:cNvSpPr txBox="1">
            <a:spLocks/>
          </p:cNvSpPr>
          <p:nvPr/>
        </p:nvSpPr>
        <p:spPr>
          <a:xfrm>
            <a:off x="-8418" y="2954437"/>
            <a:ext cx="12200418" cy="9671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45" marR="1270" lvl="0" indent="0" algn="ctr" defTabSz="554192" rtl="0" eaLnBrk="1" fontAlgn="auto" latinLnBrk="0" hangingPunct="1">
              <a:lnSpc>
                <a:spcPct val="100400"/>
              </a:lnSpc>
              <a:spcBef>
                <a:spcPts val="3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72706" algn="l"/>
              </a:tabLst>
              <a:defRPr/>
            </a:pPr>
            <a:r>
              <a:rPr lang="en-GB" sz="6000" spc="600" dirty="0">
                <a:solidFill>
                  <a:srgbClr val="FFFFFF"/>
                </a:solidFill>
                <a:latin typeface="Kantar Brown Light"/>
                <a:cs typeface="Kantar Brown Light" panose="020B0404020101010102" pitchFamily="34" charset="77"/>
              </a:rPr>
              <a:t>Supporting slide</a:t>
            </a:r>
            <a:r>
              <a:rPr lang="ro-RO" sz="6000" spc="600" dirty="0">
                <a:solidFill>
                  <a:srgbClr val="FFFFFF"/>
                </a:solidFill>
                <a:latin typeface="Kantar Brown Light"/>
                <a:cs typeface="Kantar Brown Light" panose="020B0404020101010102" pitchFamily="34" charset="77"/>
              </a:rPr>
              <a:t>s in Romanian</a:t>
            </a:r>
            <a:endParaRPr kumimoji="0" lang="en-GB" sz="6000" b="0" i="0" u="none" strike="noStrike" kern="1200" cap="none" spc="6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antar Brown Light"/>
              <a:ea typeface="+mn-ea"/>
              <a:cs typeface="Kantar Brown Light" panose="020B0404020101010102" pitchFamily="34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842E8A-2C1E-E3B2-4F0B-DDBB0F5D95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030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4B2A3-998A-A4B8-5D37-BA098B009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2400" dirty="0">
                <a:solidFill>
                  <a:srgbClr val="FF0000"/>
                </a:solidFill>
              </a:rPr>
              <a:t>V1</a:t>
            </a:r>
            <a:r>
              <a:rPr lang="en-US" sz="2400" dirty="0">
                <a:solidFill>
                  <a:srgbClr val="FF0000"/>
                </a:solidFill>
              </a:rPr>
              <a:t>: </a:t>
            </a:r>
            <a:r>
              <a:rPr lang="ro-RO" sz="2400" dirty="0">
                <a:solidFill>
                  <a:schemeClr val="tx2"/>
                </a:solidFill>
              </a:rPr>
              <a:t>Ce ne învață 6,5 miliarde de puncte de date despre strategia de creștere a brandurilor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FC0071-BC6F-E634-9D7B-972CB0EBC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ro-RO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ro-RO" dirty="0">
                <a:solidFill>
                  <a:srgbClr val="333333"/>
                </a:solidFill>
                <a:latin typeface="Arial"/>
              </a:rPr>
              <a:t>Brandurile din prima treime vs. ultima treime în funcție de performanță</a:t>
            </a:r>
            <a:endParaRPr lang="en-GB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9204484-E7E7-D95B-FA1C-D66CCC17DA7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59999" y="1397314"/>
            <a:ext cx="5626800" cy="3999600"/>
          </a:xfrm>
        </p:spPr>
        <p:txBody>
          <a:bodyPr/>
          <a:lstStyle/>
          <a:p>
            <a:r>
              <a:rPr lang="ro-RO" sz="2000" dirty="0"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Pentru prima dată, Kantar a combinat peste 6,5 miliarde de date despre atitudinile și comportamentele de cumpărare și de consum pentru a defini cantitativ noile reguli de marketing care să-i ghideze pe CMO, directorii de marketing cum să identifice prioritățile activităților de marketing care îi vor conduce la creșterea mărcii și la o conectare mai bună cu consumatorii</a:t>
            </a:r>
            <a:r>
              <a:rPr lang="en-GB" sz="2000" dirty="0"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.</a:t>
            </a:r>
            <a:endParaRPr lang="en-GB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67DF1C2-5F1F-0B9B-C09C-077998C83F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03976" y="910800"/>
            <a:ext cx="3882777" cy="4582540"/>
          </a:xfrm>
        </p:spPr>
        <p:txBody>
          <a:bodyPr/>
          <a:lstStyle/>
          <a:p>
            <a:br>
              <a:rPr lang="en-GB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Mărcile care sunt </a:t>
            </a:r>
            <a:r>
              <a:rPr lang="ro-RO" sz="2400" i="1" dirty="0">
                <a:solidFill>
                  <a:srgbClr val="000000"/>
                </a:solidFill>
                <a:latin typeface="Arial" panose="020B0604020202020204" pitchFamily="34" charset="0"/>
              </a:rPr>
              <a:t>diferite în mod semnificativ</a:t>
            </a:r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 pentru mai multe persoane, au azi o </a:t>
            </a:r>
          </a:p>
          <a:p>
            <a:r>
              <a:rPr lang="ro-RO" sz="2400" b="1" dirty="0">
                <a:solidFill>
                  <a:srgbClr val="000000"/>
                </a:solidFill>
                <a:latin typeface="Arial" panose="020B0604020202020204" pitchFamily="34" charset="0"/>
              </a:rPr>
              <a:t>penetrare în categorie de </a:t>
            </a:r>
            <a:r>
              <a:rPr lang="en-GB" sz="2400" b="1" dirty="0">
                <a:gradFill flip="none" rotWithShape="1">
                  <a:gsLst>
                    <a:gs pos="0">
                      <a:schemeClr val="bg2"/>
                    </a:gs>
                    <a:gs pos="50000">
                      <a:srgbClr val="EB0064"/>
                    </a:gs>
                    <a:gs pos="63000">
                      <a:schemeClr val="accent5"/>
                    </a:gs>
                  </a:gsLst>
                  <a:lin ang="16200000" scaled="1"/>
                  <a:tileRect/>
                </a:gradFill>
              </a:rPr>
              <a:t>5x </a:t>
            </a:r>
            <a:r>
              <a:rPr lang="ro-RO" sz="2400" b="1" dirty="0">
                <a:solidFill>
                  <a:srgbClr val="000000"/>
                </a:solidFill>
                <a:latin typeface="Arial" panose="020B0604020202020204" pitchFamily="34" charset="0"/>
              </a:rPr>
              <a:t>mai mare</a:t>
            </a:r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și arată și o probabilitate mai mare de a o îmbunătății, în următorii doi ani *.</a:t>
            </a:r>
          </a:p>
          <a:p>
            <a:endParaRPr lang="en-GB" sz="20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CD6092-7638-091E-FFDC-D3C8DEB27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22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F7EB4-3FA1-B039-49BE-D4C78A758F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112C3-26BB-DEFE-E9F7-58235A992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2400" dirty="0">
                <a:solidFill>
                  <a:srgbClr val="FF0000"/>
                </a:solidFill>
              </a:rPr>
              <a:t>V2</a:t>
            </a:r>
            <a:r>
              <a:rPr lang="en-US" sz="2400" dirty="0">
                <a:solidFill>
                  <a:srgbClr val="FF0000"/>
                </a:solidFill>
              </a:rPr>
              <a:t>: </a:t>
            </a:r>
            <a:r>
              <a:rPr lang="it-IT" sz="2400" dirty="0">
                <a:solidFill>
                  <a:schemeClr val="tx2"/>
                </a:solidFill>
              </a:rPr>
              <a:t>Un deceniu de date Kantar dezvăluie calea către o creștere de 5 ori mai mare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F5FE435-816D-2960-93E4-BD9F0394350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59999" y="1397314"/>
            <a:ext cx="5626800" cy="3999600"/>
          </a:xfrm>
        </p:spPr>
        <p:txBody>
          <a:bodyPr/>
          <a:lstStyle/>
          <a:p>
            <a:r>
              <a:rPr lang="ro-RO" sz="2000" dirty="0"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Pentru prima dată, Kantar a combinat peste 6,5 miliarde de date privind atitudinea dar și despre comportamentul de cumpărare și de consum pentru a defini cantitativ noile reguli de marketing care să-i ghideze pe CMO, directorii de marketing cum să identifice prioritățile activităților de marketing care îi vor conduce la creșterea mărcii și la o conectare mai bună cu consumatorii. 
Construit pe baza modelului MDS de măsurare a capitalului de brand (</a:t>
            </a:r>
            <a:r>
              <a:rPr lang="ro-RO" sz="2000" i="1" dirty="0"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brand </a:t>
            </a:r>
            <a:r>
              <a:rPr lang="ro-RO" sz="2000" i="1" dirty="0" err="1"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equity</a:t>
            </a:r>
            <a:r>
              <a:rPr lang="ro-RO" sz="2000" dirty="0"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), Kantar a identificat cele trei acceleratoare de creștere pe care CMO trebuie să se concentreze pentru a asigura creșterea mărcii lor.</a:t>
            </a:r>
            <a:endParaRPr lang="ro-RO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4D035E95-4E54-FFCC-A986-37F5109782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03976" y="910800"/>
            <a:ext cx="3882777" cy="4582540"/>
          </a:xfrm>
        </p:spPr>
        <p:txBody>
          <a:bodyPr/>
          <a:lstStyle/>
          <a:p>
            <a:br>
              <a:rPr lang="en-GB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Mărcile care sunt </a:t>
            </a:r>
            <a:r>
              <a:rPr lang="ro-RO" sz="2400" i="1" dirty="0">
                <a:solidFill>
                  <a:srgbClr val="000000"/>
                </a:solidFill>
                <a:latin typeface="Arial" panose="020B0604020202020204" pitchFamily="34" charset="0"/>
              </a:rPr>
              <a:t>diferite în mod semnificativ</a:t>
            </a:r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 pentru mai multe persoane, au azi o </a:t>
            </a:r>
          </a:p>
          <a:p>
            <a:r>
              <a:rPr lang="ro-RO" sz="2400" b="1" dirty="0">
                <a:solidFill>
                  <a:srgbClr val="000000"/>
                </a:solidFill>
                <a:latin typeface="Arial" panose="020B0604020202020204" pitchFamily="34" charset="0"/>
              </a:rPr>
              <a:t>penetrare în categorie de </a:t>
            </a:r>
            <a:r>
              <a:rPr lang="en-GB" sz="2400" b="1" dirty="0">
                <a:gradFill flip="none" rotWithShape="1">
                  <a:gsLst>
                    <a:gs pos="0">
                      <a:schemeClr val="bg2"/>
                    </a:gs>
                    <a:gs pos="50000">
                      <a:srgbClr val="EB0064"/>
                    </a:gs>
                    <a:gs pos="63000">
                      <a:schemeClr val="accent5"/>
                    </a:gs>
                  </a:gsLst>
                  <a:lin ang="16200000" scaled="1"/>
                  <a:tileRect/>
                </a:gradFill>
              </a:rPr>
              <a:t>5x </a:t>
            </a:r>
            <a:r>
              <a:rPr lang="ro-RO" sz="2400" b="1" dirty="0">
                <a:solidFill>
                  <a:srgbClr val="000000"/>
                </a:solidFill>
                <a:latin typeface="Arial" panose="020B0604020202020204" pitchFamily="34" charset="0"/>
              </a:rPr>
              <a:t>mai mare</a:t>
            </a:r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ro-RO" sz="2400" dirty="0">
                <a:solidFill>
                  <a:srgbClr val="000000"/>
                </a:solidFill>
                <a:latin typeface="Arial" panose="020B0604020202020204" pitchFamily="34" charset="0"/>
              </a:rPr>
              <a:t>și arată și o probabilitate mai mare de a o îmbunătății, în următorii doi ani *.</a:t>
            </a:r>
          </a:p>
          <a:p>
            <a:endParaRPr lang="en-GB" sz="32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BEAD2C-6A43-68E6-27B8-1F9CB29B57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D3D177F-07B5-54B2-4254-3ABEBDFA5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2400" y="6390000"/>
            <a:ext cx="7495200" cy="198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ro-RO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ro-RO" dirty="0">
                <a:solidFill>
                  <a:srgbClr val="333333"/>
                </a:solidFill>
                <a:latin typeface="Arial"/>
              </a:rPr>
              <a:t>Brandurile din prima treime vs. ultima treime în funcție de performanță</a:t>
            </a:r>
            <a:endParaRPr lang="en-GB" dirty="0">
              <a:solidFill>
                <a:srgbClr val="333333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62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4B2A3-998A-A4B8-5D37-BA098B009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2400" dirty="0">
                <a:solidFill>
                  <a:schemeClr val="tx2"/>
                </a:solidFill>
              </a:rPr>
              <a:t>Predispuneți mai </a:t>
            </a:r>
            <a:r>
              <a:rPr lang="ro-RO" sz="2400">
                <a:solidFill>
                  <a:schemeClr val="tx2"/>
                </a:solidFill>
              </a:rPr>
              <a:t>mulți oameni</a:t>
            </a:r>
            <a:endParaRPr lang="ro-RO" sz="24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FC0071-BC6F-E634-9D7B-972CB0EBC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ison of top third vs bottom third performing bran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7C611C-D836-0949-DE71-13DB9F6E7D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910800"/>
            <a:ext cx="6186811" cy="396000"/>
          </a:xfrm>
        </p:spPr>
        <p:txBody>
          <a:bodyPr/>
          <a:lstStyle/>
          <a:p>
            <a:r>
              <a:rPr lang="ro-RO" sz="1600" dirty="0"/>
              <a:t>Metrici </a:t>
            </a:r>
            <a:r>
              <a:rPr lang="it-IT" sz="1600" dirty="0"/>
              <a:t>care contează: </a:t>
            </a:r>
            <a:r>
              <a:rPr lang="ro-RO" sz="1600" dirty="0"/>
              <a:t>P</a:t>
            </a:r>
            <a:r>
              <a:rPr lang="it-IT" sz="1600" dirty="0"/>
              <a:t>uterea cererii</a:t>
            </a:r>
            <a:r>
              <a:rPr lang="ro-RO" sz="1600" dirty="0"/>
              <a:t> (</a:t>
            </a:r>
            <a:r>
              <a:rPr lang="ro-RO" sz="1600" i="1" dirty="0" err="1"/>
              <a:t>Demand</a:t>
            </a:r>
            <a:r>
              <a:rPr lang="ro-RO" sz="1600" i="1" dirty="0"/>
              <a:t> Power</a:t>
            </a:r>
            <a:r>
              <a:rPr lang="ro-RO" sz="1600" dirty="0"/>
              <a:t>)</a:t>
            </a:r>
            <a:r>
              <a:rPr lang="it-IT" sz="1600" dirty="0"/>
              <a:t>, </a:t>
            </a:r>
            <a:r>
              <a:rPr lang="ro-RO" sz="1600" dirty="0"/>
              <a:t>P</a:t>
            </a:r>
            <a:r>
              <a:rPr lang="it-IT" sz="1600" dirty="0"/>
              <a:t>uterea de stabilire a prețurilor</a:t>
            </a:r>
            <a:r>
              <a:rPr lang="ro-RO" sz="1600" dirty="0"/>
              <a:t> (</a:t>
            </a:r>
            <a:r>
              <a:rPr lang="ro-RO" sz="1600" i="1" dirty="0" err="1"/>
              <a:t>Pricing</a:t>
            </a:r>
            <a:r>
              <a:rPr lang="ro-RO" sz="1600" i="1" dirty="0"/>
              <a:t> Power</a:t>
            </a:r>
            <a:r>
              <a:rPr lang="ro-RO" sz="1600" dirty="0"/>
              <a:t>)</a:t>
            </a:r>
            <a:endParaRPr lang="en-GB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D7E5D2-472A-ECE5-6E51-7F5E563C5248}"/>
              </a:ext>
            </a:extLst>
          </p:cNvPr>
          <p:cNvSpPr txBox="1"/>
          <p:nvPr/>
        </p:nvSpPr>
        <p:spPr>
          <a:xfrm>
            <a:off x="8053127" y="3369765"/>
            <a:ext cx="262626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e prețul ceru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2DF056-3D35-D60C-B3D3-FE93FBB204E3}"/>
              </a:ext>
            </a:extLst>
          </p:cNvPr>
          <p:cNvSpPr txBox="1"/>
          <p:nvPr/>
        </p:nvSpPr>
        <p:spPr>
          <a:xfrm>
            <a:off x="7100462" y="2852565"/>
            <a:ext cx="109178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802AB7"/>
                    </a:gs>
                    <a:gs pos="50000">
                      <a:srgbClr val="EB0064"/>
                    </a:gs>
                    <a:gs pos="63000">
                      <a:srgbClr val="FF5000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2x</a:t>
            </a:r>
            <a:endParaRPr kumimoji="0" lang="en-GB" sz="4000" b="1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0">
                    <a:srgbClr val="802AB7"/>
                  </a:gs>
                  <a:gs pos="50000">
                    <a:srgbClr val="EB0064"/>
                  </a:gs>
                  <a:gs pos="63000">
                    <a:srgbClr val="FF5000"/>
                  </a:gs>
                </a:gsLst>
                <a:lin ang="16200000" scaled="1"/>
                <a:tileRect/>
              </a:gra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17114B-F83D-1B36-E2F2-D9B534B276E6}"/>
              </a:ext>
            </a:extLst>
          </p:cNvPr>
          <p:cNvSpPr txBox="1"/>
          <p:nvPr/>
        </p:nvSpPr>
        <p:spPr>
          <a:xfrm>
            <a:off x="7100462" y="3780225"/>
            <a:ext cx="262626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802AB7"/>
                    </a:gs>
                    <a:gs pos="50000">
                      <a:srgbClr val="EB0064"/>
                    </a:gs>
                    <a:gs pos="63000">
                      <a:srgbClr val="FF5000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4x</a:t>
            </a:r>
            <a:endParaRPr kumimoji="0" lang="en-GB" sz="4000" b="1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0">
                    <a:srgbClr val="802AB7"/>
                  </a:gs>
                  <a:gs pos="50000">
                    <a:srgbClr val="EB0064"/>
                  </a:gs>
                  <a:gs pos="63000">
                    <a:srgbClr val="FF5000"/>
                  </a:gs>
                </a:gsLst>
                <a:lin ang="16200000" scaled="1"/>
                <a:tileRect/>
              </a:gra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2F5F68-0B25-8638-9615-C19072E16753}"/>
              </a:ext>
            </a:extLst>
          </p:cNvPr>
          <p:cNvSpPr txBox="1"/>
          <p:nvPr/>
        </p:nvSpPr>
        <p:spPr>
          <a:xfrm>
            <a:off x="7100462" y="1956387"/>
            <a:ext cx="262626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802AB7"/>
                    </a:gs>
                    <a:gs pos="50000">
                      <a:srgbClr val="EB0064"/>
                    </a:gs>
                    <a:gs pos="63000">
                      <a:srgbClr val="FF5000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9x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0">
                    <a:srgbClr val="802AB7"/>
                  </a:gs>
                  <a:gs pos="50000">
                    <a:srgbClr val="EB0064"/>
                  </a:gs>
                  <a:gs pos="63000">
                    <a:srgbClr val="FF5000"/>
                  </a:gs>
                </a:gsLst>
                <a:lin ang="16200000" scaled="1"/>
                <a:tileRect/>
              </a:gra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A6FC7D0-F4D4-8753-093B-125ABA5EBA07}"/>
              </a:ext>
            </a:extLst>
          </p:cNvPr>
          <p:cNvSpPr txBox="1">
            <a:spLocks/>
          </p:cNvSpPr>
          <p:nvPr/>
        </p:nvSpPr>
        <p:spPr>
          <a:xfrm>
            <a:off x="7100462" y="430718"/>
            <a:ext cx="4726412" cy="14492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o-RO" sz="3200" b="0" dirty="0">
                <a:solidFill>
                  <a:srgbClr val="333333"/>
                </a:solidFill>
              </a:rPr>
              <a:t>Brandurile față de care oamenii au o predispoziție mai mare au...</a:t>
            </a:r>
            <a:endParaRPr kumimoji="0" lang="ro-RO" sz="3200" b="0" i="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241FBC8-B2E6-22AF-3235-FAEDB44D3E7C}"/>
              </a:ext>
            </a:extLst>
          </p:cNvPr>
          <p:cNvSpPr txBox="1"/>
          <p:nvPr/>
        </p:nvSpPr>
        <p:spPr>
          <a:xfrm>
            <a:off x="8053126" y="2429024"/>
            <a:ext cx="26262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200" b="1" dirty="0">
                <a:solidFill>
                  <a:srgbClr val="333333"/>
                </a:solidFill>
                <a:latin typeface="Arial"/>
              </a:rPr>
              <a:t>mai mare cota de piață din volum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0F8982A-CC5B-F1A2-D7F7-A4C32BD0BEB9}"/>
              </a:ext>
            </a:extLst>
          </p:cNvPr>
          <p:cNvSpPr txBox="1"/>
          <p:nvPr/>
        </p:nvSpPr>
        <p:spPr>
          <a:xfrm>
            <a:off x="8060164" y="4260331"/>
            <a:ext cx="37667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 mare probabilitatea de a-și crește cota de piață din valoare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B92758D-EE57-B24D-D613-569A4EE66EA8}"/>
              </a:ext>
            </a:extLst>
          </p:cNvPr>
          <p:cNvSpPr txBox="1">
            <a:spLocks/>
          </p:cNvSpPr>
          <p:nvPr/>
        </p:nvSpPr>
        <p:spPr>
          <a:xfrm>
            <a:off x="7100461" y="4758382"/>
            <a:ext cx="4726413" cy="8685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… </a:t>
            </a:r>
            <a:r>
              <a:rPr lang="it-IT" sz="3200" b="0" dirty="0">
                <a:solidFill>
                  <a:srgbClr val="333333"/>
                </a:solidFill>
              </a:rPr>
              <a:t>decât mărcile cu</a:t>
            </a:r>
            <a:r>
              <a:rPr lang="ro-RO" sz="3200" b="0" dirty="0">
                <a:solidFill>
                  <a:srgbClr val="333333"/>
                </a:solidFill>
              </a:rPr>
              <a:t> o</a:t>
            </a:r>
            <a:r>
              <a:rPr lang="it-IT" sz="3200" b="0" dirty="0">
                <a:solidFill>
                  <a:srgbClr val="333333"/>
                </a:solidFill>
              </a:rPr>
              <a:t> predispoziție mai </a:t>
            </a:r>
            <a:r>
              <a:rPr lang="ro-RO" sz="3200" b="0" dirty="0">
                <a:solidFill>
                  <a:srgbClr val="333333"/>
                </a:solidFill>
              </a:rPr>
              <a:t>scăzută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14D77CD-5869-858A-BEE3-47E49B9CE26E}"/>
              </a:ext>
            </a:extLst>
          </p:cNvPr>
          <p:cNvSpPr txBox="1">
            <a:spLocks/>
          </p:cNvSpPr>
          <p:nvPr/>
        </p:nvSpPr>
        <p:spPr>
          <a:xfrm>
            <a:off x="359999" y="1397314"/>
            <a:ext cx="5626800" cy="399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Brandurile își pot crește probabilitatea de a fi cumpărate prin consolidarea </a:t>
            </a:r>
            <a:r>
              <a:rPr lang="ro-RO" sz="2000" b="1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predispoziției pe care toată lumea o are față de acestea</a:t>
            </a: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. Modelul ajută </a:t>
            </a:r>
            <a:r>
              <a:rPr lang="ro-RO" sz="2000" dirty="0" err="1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marketerii</a:t>
            </a: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 să aleagă cum să investească în a crește expunerea și a îmbunătăți experiențele consumatorilor astfel încât să construiască percepțiile cele mai potrivite care să facă brandul </a:t>
            </a:r>
            <a:r>
              <a:rPr lang="ro-RO" sz="2000" b="1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disponibil mental </a:t>
            </a: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și </a:t>
            </a:r>
            <a:r>
              <a:rPr lang="ro-RO" sz="2000" b="1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diferit în mod semnificativ </a:t>
            </a: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pentru oameni, combinația care s-a dovedită că este de succes pentru mărci.</a:t>
            </a:r>
            <a:endParaRPr kumimoji="0" lang="ro-RO" sz="2000" b="0" i="0" u="none" strike="noStrike" kern="1200" cap="none" spc="0" normalizeH="0" baseline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lt"/>
              <a:ea typeface="DengXia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6BC3F8-02B0-8EA1-05AA-87326BD57A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C2A949-272A-4AEE-F068-74B96FE8DB0E}"/>
              </a:ext>
            </a:extLst>
          </p:cNvPr>
          <p:cNvSpPr txBox="1"/>
          <p:nvPr/>
        </p:nvSpPr>
        <p:spPr>
          <a:xfrm>
            <a:off x="6407909" y="2429024"/>
            <a:ext cx="15544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..de..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96AA8B-4C9E-52CC-C85D-3015E9ADD6B4}"/>
              </a:ext>
            </a:extLst>
          </p:cNvPr>
          <p:cNvSpPr txBox="1"/>
          <p:nvPr/>
        </p:nvSpPr>
        <p:spPr>
          <a:xfrm>
            <a:off x="6453135" y="3369765"/>
            <a:ext cx="15544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..de..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05BFB2-5D0A-461B-87F4-55787306FF1E}"/>
              </a:ext>
            </a:extLst>
          </p:cNvPr>
          <p:cNvSpPr txBox="1"/>
          <p:nvPr/>
        </p:nvSpPr>
        <p:spPr>
          <a:xfrm>
            <a:off x="6453135" y="4260331"/>
            <a:ext cx="15544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..de..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306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4B2A3-998A-A4B8-5D37-BA098B009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2400" dirty="0">
                <a:solidFill>
                  <a:schemeClr val="tx2"/>
                </a:solidFill>
              </a:rPr>
              <a:t>Fiți mai prezenți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FC0071-BC6F-E634-9D7B-972CB0EBC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8B2707-50FE-583A-10B8-B8B6759E9C0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179024" y="819601"/>
            <a:ext cx="3588576" cy="5074128"/>
          </a:xfrm>
        </p:spPr>
        <p:txBody>
          <a:bodyPr/>
          <a:lstStyle/>
          <a:p>
            <a:r>
              <a:rPr lang="ro-RO" sz="3600" dirty="0"/>
              <a:t>Brandurile care sunt mereu prezente atrag cu de </a:t>
            </a:r>
            <a:r>
              <a:rPr lang="ro-RO" sz="4400" b="1" dirty="0">
                <a:gradFill flip="none" rotWithShape="1">
                  <a:gsLst>
                    <a:gs pos="0">
                      <a:schemeClr val="bg2"/>
                    </a:gs>
                    <a:gs pos="50000">
                      <a:srgbClr val="EB0064"/>
                    </a:gs>
                    <a:gs pos="63000">
                      <a:schemeClr val="accent5"/>
                    </a:gs>
                  </a:gsLst>
                  <a:lin ang="16200000" scaled="1"/>
                  <a:tileRect/>
                </a:gradFill>
              </a:rPr>
              <a:t>7x</a:t>
            </a:r>
            <a:endParaRPr lang="ro-RO" sz="4400" b="1" dirty="0"/>
          </a:p>
          <a:p>
            <a:r>
              <a:rPr lang="ro-RO" sz="3600" b="1" dirty="0"/>
              <a:t>mai mulți cumpărători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7C611C-D836-0949-DE71-13DB9F6E7D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363" y="910800"/>
            <a:ext cx="6421437" cy="396000"/>
          </a:xfrm>
        </p:spPr>
        <p:txBody>
          <a:bodyPr/>
          <a:lstStyle/>
          <a:p>
            <a:r>
              <a:rPr lang="ro-RO" sz="1600" dirty="0"/>
              <a:t>Metrici </a:t>
            </a:r>
            <a:r>
              <a:rPr lang="it-IT" sz="1600" dirty="0"/>
              <a:t>care contează: </a:t>
            </a:r>
            <a:r>
              <a:rPr lang="ro-RO" sz="1600" dirty="0"/>
              <a:t>Puterea de activare (</a:t>
            </a:r>
            <a:r>
              <a:rPr lang="en-GB" sz="1600" i="1" dirty="0"/>
              <a:t>Activation Power</a:t>
            </a:r>
            <a:r>
              <a:rPr lang="ro-RO" sz="1600" i="1" dirty="0"/>
              <a:t>)</a:t>
            </a:r>
            <a:r>
              <a:rPr lang="en-GB" sz="1600" dirty="0"/>
              <a:t>, </a:t>
            </a:r>
            <a:r>
              <a:rPr lang="ro-RO" sz="1600" dirty="0"/>
              <a:t>date de piață</a:t>
            </a:r>
            <a:endParaRPr lang="en-GB" sz="1600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7483D028-0380-5F6E-97A3-FC34E8D247F1}"/>
              </a:ext>
            </a:extLst>
          </p:cNvPr>
          <p:cNvSpPr txBox="1">
            <a:spLocks/>
          </p:cNvSpPr>
          <p:nvPr/>
        </p:nvSpPr>
        <p:spPr>
          <a:xfrm>
            <a:off x="359999" y="1397314"/>
            <a:ext cx="5626800" cy="399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Modelul ajută mărcile să maximizeze acele investiții care </a:t>
            </a:r>
            <a:r>
              <a:rPr lang="ro-RO" sz="2000" b="1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stimulează disponibilitatea brandului prin distribuție și conversie</a:t>
            </a:r>
            <a:r>
              <a:rPr lang="ro-RO" sz="2000" dirty="0">
                <a:solidFill>
                  <a:srgbClr val="333333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, ajutându-le să înțeleagă unde au succes și unde se află oportunitățile viitoare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69EA475-3D09-D35E-6AFB-5B15B576CA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52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4B2A3-998A-A4B8-5D37-BA098B009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err="1">
                <a:solidFill>
                  <a:schemeClr val="tx2"/>
                </a:solidFill>
              </a:rPr>
              <a:t>Găsiți</a:t>
            </a:r>
            <a:r>
              <a:rPr lang="en-GB" sz="2400" dirty="0">
                <a:solidFill>
                  <a:schemeClr val="tx2"/>
                </a:solidFill>
              </a:rPr>
              <a:t> </a:t>
            </a:r>
            <a:r>
              <a:rPr lang="en-GB" sz="2400" dirty="0" err="1">
                <a:solidFill>
                  <a:schemeClr val="tx2"/>
                </a:solidFill>
              </a:rPr>
              <a:t>spațiu</a:t>
            </a:r>
            <a:r>
              <a:rPr lang="en-GB" sz="2400" dirty="0">
                <a:solidFill>
                  <a:schemeClr val="tx2"/>
                </a:solidFill>
              </a:rPr>
              <a:t> </a:t>
            </a:r>
            <a:r>
              <a:rPr lang="en-GB" sz="2400" dirty="0" err="1">
                <a:solidFill>
                  <a:schemeClr val="tx2"/>
                </a:solidFill>
              </a:rPr>
              <a:t>nou</a:t>
            </a:r>
            <a:r>
              <a:rPr lang="ro-RO" sz="2400" dirty="0">
                <a:solidFill>
                  <a:schemeClr val="tx2"/>
                </a:solidFill>
              </a:rPr>
              <a:t> în piață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FC0071-BC6F-E634-9D7B-972CB0EBC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8B2707-50FE-583A-10B8-B8B6759E9C0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044591" y="4665641"/>
            <a:ext cx="3955449" cy="631062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it-IT" sz="1800" dirty="0"/>
              <a:t>Creșterea cu 10% </a:t>
            </a:r>
            <a:r>
              <a:rPr lang="ro-RO" sz="1800" dirty="0"/>
              <a:t>a ocaziilor de consum </a:t>
            </a:r>
            <a:r>
              <a:rPr lang="it-IT" sz="1800" dirty="0"/>
              <a:t>pentru un brand are ca rezultat o creștere a</a:t>
            </a:r>
            <a:r>
              <a:rPr lang="ro-RO" sz="1800" dirty="0"/>
              <a:t> </a:t>
            </a:r>
            <a:r>
              <a:rPr lang="en-GB" sz="1800" b="1" dirty="0">
                <a:gradFill flip="none" rotWithShape="1">
                  <a:gsLst>
                    <a:gs pos="0">
                      <a:schemeClr val="bg2"/>
                    </a:gs>
                    <a:gs pos="50000">
                      <a:srgbClr val="EB0064"/>
                    </a:gs>
                    <a:gs pos="63000">
                      <a:schemeClr val="accent5"/>
                    </a:gs>
                  </a:gsLst>
                  <a:lin ang="16200000" scaled="1"/>
                  <a:tileRect/>
                </a:gradFill>
              </a:rPr>
              <a:t>+17%</a:t>
            </a:r>
            <a:r>
              <a:rPr lang="ro-RO" sz="1800" b="1" dirty="0">
                <a:gradFill flip="none" rotWithShape="1">
                  <a:gsLst>
                    <a:gs pos="0">
                      <a:schemeClr val="bg2"/>
                    </a:gs>
                    <a:gs pos="50000">
                      <a:srgbClr val="EB0064"/>
                    </a:gs>
                    <a:gs pos="63000">
                      <a:schemeClr val="accent5"/>
                    </a:gs>
                  </a:gsLst>
                  <a:lin ang="16200000" scaled="1"/>
                  <a:tileRect/>
                </a:gradFill>
              </a:rPr>
              <a:t> </a:t>
            </a:r>
            <a:r>
              <a:rPr lang="ro-RO" sz="1800" dirty="0"/>
              <a:t>a veniturilor</a:t>
            </a:r>
            <a:endParaRPr lang="en-GB" sz="18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27C611C-D836-0949-DE71-13DB9F6E7D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ro-RO" sz="1600" dirty="0"/>
              <a:t>Metrici </a:t>
            </a:r>
            <a:r>
              <a:rPr lang="it-IT" sz="1600" dirty="0"/>
              <a:t>care contează: </a:t>
            </a:r>
            <a:r>
              <a:rPr lang="ro-RO" sz="1600" dirty="0"/>
              <a:t>Scorul de distribuție (</a:t>
            </a:r>
            <a:r>
              <a:rPr lang="en-GB" sz="1600" i="1" dirty="0"/>
              <a:t>Spread Score</a:t>
            </a:r>
            <a:r>
              <a:rPr lang="ro-RO" sz="1600" dirty="0"/>
              <a:t>)</a:t>
            </a:r>
            <a:endParaRPr lang="en-GB" sz="1600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4C106E61-5FF1-479D-D6F7-654A1B577D29}"/>
              </a:ext>
            </a:extLst>
          </p:cNvPr>
          <p:cNvSpPr txBox="1">
            <a:spLocks/>
          </p:cNvSpPr>
          <p:nvPr/>
        </p:nvSpPr>
        <p:spPr>
          <a:xfrm>
            <a:off x="7044592" y="1108800"/>
            <a:ext cx="3955449" cy="28794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o-RO" sz="3600" dirty="0">
                <a:solidFill>
                  <a:srgbClr val="333333"/>
                </a:solidFill>
              </a:rPr>
              <a:t>Șansele de creștere pentru un brand ce găsește noi ocazii de consum sunt </a:t>
            </a:r>
          </a:p>
          <a:p>
            <a:pPr lvl="0"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802AB7"/>
                    </a:gs>
                    <a:gs pos="50000">
                      <a:srgbClr val="EB0064"/>
                    </a:gs>
                    <a:gs pos="63000">
                      <a:srgbClr val="FF5000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Arial"/>
                <a:ea typeface="+mn-ea"/>
                <a:cs typeface="+mn-cs"/>
              </a:rPr>
              <a:t>2x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DCC24385-0EAA-FB7B-A3D9-B0B599AE64AF}"/>
              </a:ext>
            </a:extLst>
          </p:cNvPr>
          <p:cNvSpPr txBox="1">
            <a:spLocks/>
          </p:cNvSpPr>
          <p:nvPr/>
        </p:nvSpPr>
        <p:spPr>
          <a:xfrm>
            <a:off x="359998" y="1313244"/>
            <a:ext cx="5626800" cy="3999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o-RO" sz="2000" dirty="0">
                <a:solidFill>
                  <a:srgbClr val="333333"/>
                </a:solidFill>
                <a:latin typeface="+mj-lt"/>
                <a:cs typeface="Calibri"/>
              </a:rPr>
              <a:t>Modelul ajută brandurile să găsească acele spații (motivații, ocazii, categorii, servicii) în care se pot extinde și care </a:t>
            </a:r>
            <a:r>
              <a:rPr lang="ro-RO" sz="2000" b="1" dirty="0">
                <a:solidFill>
                  <a:srgbClr val="333333"/>
                </a:solidFill>
                <a:latin typeface="+mj-lt"/>
                <a:cs typeface="Calibri"/>
              </a:rPr>
              <a:t>aduc cel mai mult incremental</a:t>
            </a:r>
            <a:r>
              <a:rPr lang="ro-RO" sz="2000" dirty="0">
                <a:solidFill>
                  <a:srgbClr val="333333"/>
                </a:solidFill>
                <a:latin typeface="+mj-lt"/>
                <a:cs typeface="Calibri"/>
              </a:rPr>
              <a:t>. De asemenea arătă cum pot brandurile să câștige în aceste noi spații prin </a:t>
            </a:r>
            <a:r>
              <a:rPr lang="ro-RO" sz="2000" b="1" dirty="0">
                <a:solidFill>
                  <a:srgbClr val="333333"/>
                </a:solidFill>
                <a:latin typeface="+mj-lt"/>
                <a:cs typeface="Calibri"/>
              </a:rPr>
              <a:t>inovații care să fie diferite în mod semnificativ</a:t>
            </a:r>
            <a:r>
              <a:rPr lang="ro-RO" sz="2000" dirty="0">
                <a:solidFill>
                  <a:srgbClr val="333333"/>
                </a:solidFill>
                <a:latin typeface="+mj-lt"/>
                <a:cs typeface="Calibri"/>
              </a:rPr>
              <a:t>, prin </a:t>
            </a:r>
            <a:r>
              <a:rPr lang="ro-RO" sz="2000" b="1" dirty="0">
                <a:solidFill>
                  <a:srgbClr val="333333"/>
                </a:solidFill>
                <a:latin typeface="+mj-lt"/>
                <a:cs typeface="Calibri"/>
              </a:rPr>
              <a:t>extinderea distribuției </a:t>
            </a:r>
            <a:r>
              <a:rPr lang="ro-RO" sz="2000" dirty="0">
                <a:solidFill>
                  <a:srgbClr val="333333"/>
                </a:solidFill>
                <a:latin typeface="+mj-lt"/>
                <a:cs typeface="Calibri"/>
              </a:rPr>
              <a:t>și </a:t>
            </a:r>
            <a:r>
              <a:rPr lang="ro-RO" sz="2000" b="1" dirty="0">
                <a:solidFill>
                  <a:srgbClr val="333333"/>
                </a:solidFill>
                <a:latin typeface="+mj-lt"/>
                <a:cs typeface="Calibri"/>
              </a:rPr>
              <a:t>comunicare</a:t>
            </a:r>
            <a:r>
              <a:rPr lang="ro-RO" sz="2000" dirty="0">
                <a:solidFill>
                  <a:srgbClr val="333333"/>
                </a:solidFill>
                <a:latin typeface="+mj-lt"/>
                <a:cs typeface="Calibri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Calibri"/>
              </a:rPr>
              <a:t>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D256DBF-4F79-8E26-91AA-47A6489CFDE3}"/>
              </a:ext>
            </a:extLst>
          </p:cNvPr>
          <p:cNvSpPr txBox="1"/>
          <p:nvPr/>
        </p:nvSpPr>
        <p:spPr>
          <a:xfrm>
            <a:off x="4784725" y="2202391"/>
            <a:ext cx="1828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endParaRPr lang="es-CO" sz="1600" err="1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E3579A-187B-A9F2-1840-585A0EAD04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893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XCLUDEHIDDENSLIDES" val="False"/>
  <p:tag name="NUMBEROFPAGES" val="2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" val="7.1"/>
  <p:tag name="VERSIONNUMBER" val="7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  <p:tag name="TEMPLATEVERSION" val="7.1"/>
  <p:tag name="VERSIONNUMBER" val="7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HEADER"/>
  <p:tag name="LOGO_POSITION" val="HEADER"/>
</p:tagLst>
</file>

<file path=ppt/theme/theme1.xml><?xml version="1.0" encoding="utf-8"?>
<a:theme xmlns:a="http://schemas.openxmlformats.org/drawingml/2006/main" name="1_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_FINAL.pptx" id="{E28EE61C-0ACE-48B4-ABD3-EE51DE7FBBA3}" vid="{76396E6D-2B45-4463-9CED-8C46A8A3460B}"/>
    </a:ext>
  </a:extLst>
</a:theme>
</file>

<file path=ppt/theme/theme2.xml><?xml version="1.0" encoding="utf-8"?>
<a:theme xmlns:a="http://schemas.openxmlformats.org/drawingml/2006/main" name="2_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</a:spPr>
      <a:bodyPr rtlCol="0" anchor="ctr"/>
      <a:lstStyle>
        <a:defPPr algn="ctr">
          <a:defRPr/>
        </a:defPPr>
      </a:lst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Kantar presentation template 16x9.potx" id="{72C55E70-DCC0-48BC-A8D3-254C9D85EE6B}" vid="{C23FF744-6EF1-4703-9F18-C96C6AEBAFAC}"/>
    </a:ext>
  </a:extLst>
</a:theme>
</file>

<file path=ppt/theme/theme3.xml><?xml version="1.0" encoding="utf-8"?>
<a:theme xmlns:a="http://schemas.openxmlformats.org/drawingml/2006/main" name="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_FINAL.pptx" id="{E28EE61C-0ACE-48B4-ABD3-EE51DE7FBBA3}" vid="{76396E6D-2B45-4463-9CED-8C46A8A3460B}"/>
    </a:ext>
  </a:extLst>
</a:theme>
</file>

<file path=ppt/theme/theme4.xml><?xml version="1.0" encoding="utf-8"?>
<a:theme xmlns:a="http://schemas.openxmlformats.org/drawingml/2006/main" name="3_Kantar template master">
  <a:themeElements>
    <a:clrScheme name="Kantar colour theme">
      <a:dk1>
        <a:srgbClr val="333333"/>
      </a:dk1>
      <a:lt1>
        <a:srgbClr val="FFFFFF"/>
      </a:lt1>
      <a:dk2>
        <a:srgbClr val="0060FF"/>
      </a:dk2>
      <a:lt2>
        <a:srgbClr val="802AB7"/>
      </a:lt2>
      <a:accent1>
        <a:srgbClr val="AEAE9F"/>
      </a:accent1>
      <a:accent2>
        <a:srgbClr val="00E5BA"/>
      </a:accent2>
      <a:accent3>
        <a:srgbClr val="00B600"/>
      </a:accent3>
      <a:accent4>
        <a:srgbClr val="FEDB00"/>
      </a:accent4>
      <a:accent5>
        <a:srgbClr val="FF5000"/>
      </a:accent5>
      <a:accent6>
        <a:srgbClr val="FA0028"/>
      </a:accent6>
      <a:hlink>
        <a:srgbClr val="0060FF"/>
      </a:hlink>
      <a:folHlink>
        <a:srgbClr val="802AB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_FINAL.pptx" id="{E28EE61C-0ACE-48B4-ABD3-EE51DE7FBBA3}" vid="{76396E6D-2B45-4463-9CED-8C46A8A3460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36c17fc9-7a5a-4e6b-b1f5-8194249f842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58C02EFC5FF140B51ED7CAA4C0A323" ma:contentTypeVersion="18" ma:contentTypeDescription="Create a new document." ma:contentTypeScope="" ma:versionID="eaa63a314814599d8051f17430e9508c">
  <xsd:schema xmlns:xsd="http://www.w3.org/2001/XMLSchema" xmlns:xs="http://www.w3.org/2001/XMLSchema" xmlns:p="http://schemas.microsoft.com/office/2006/metadata/properties" xmlns:ns3="36c17fc9-7a5a-4e6b-b1f5-8194249f8422" xmlns:ns4="2415c64f-a748-4ff9-be78-dcb752848772" targetNamespace="http://schemas.microsoft.com/office/2006/metadata/properties" ma:root="true" ma:fieldsID="b15e8a3faa4c42523fd03aac1452ae99" ns3:_="" ns4:_="">
    <xsd:import namespace="36c17fc9-7a5a-4e6b-b1f5-8194249f8422"/>
    <xsd:import namespace="2415c64f-a748-4ff9-be78-dcb75284877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Location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17fc9-7a5a-4e6b-b1f5-8194249f84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15c64f-a748-4ff9-be78-dcb75284877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CF0570-2310-4955-B872-62BED7B9C8A3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2415c64f-a748-4ff9-be78-dcb752848772"/>
    <ds:schemaRef ds:uri="36c17fc9-7a5a-4e6b-b1f5-8194249f8422"/>
    <ds:schemaRef ds:uri="http://purl.org/dc/terms/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FF23F5E-CB41-4C7F-B357-D6395FF77C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85665F6-8715-4C2B-9E31-440E3471B1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c17fc9-7a5a-4e6b-b1f5-8194249f8422"/>
    <ds:schemaRef ds:uri="2415c64f-a748-4ff9-be78-dcb7528487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924</Words>
  <Application>Microsoft Office PowerPoint</Application>
  <PresentationFormat>Widescreen</PresentationFormat>
  <Paragraphs>83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Kantar Brown</vt:lpstr>
      <vt:lpstr>Kantar Brown Light</vt:lpstr>
      <vt:lpstr>1_Kantar template master</vt:lpstr>
      <vt:lpstr>2_Kantar template master</vt:lpstr>
      <vt:lpstr>Kantar template master</vt:lpstr>
      <vt:lpstr>3_Kantar template master</vt:lpstr>
      <vt:lpstr>think-cell Slide</vt:lpstr>
      <vt:lpstr>PowerPoint Presentation</vt:lpstr>
      <vt:lpstr>PowerPoint Presentation</vt:lpstr>
      <vt:lpstr>PowerPoint Presentation</vt:lpstr>
      <vt:lpstr>V1: Ce ne învață 6,5 miliarde de puncte de date despre strategia de creștere a brandurilor?</vt:lpstr>
      <vt:lpstr>V2: Un deceniu de date Kantar dezvăluie calea către o creștere de 5 ori mai mare</vt:lpstr>
      <vt:lpstr>Predispuneți mai mulți oameni</vt:lpstr>
      <vt:lpstr>Fiți mai prezenți</vt:lpstr>
      <vt:lpstr>Găsiți spațiu nou în piață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B Blueprint X Worldpanel</dc:title>
  <dc:subject/>
  <dc:creator>Madalin Vladu</dc:creator>
  <cp:keywords/>
  <dc:description>22/11/2023</dc:description>
  <cp:lastModifiedBy>Vladu, Madalin (MBBUC)</cp:lastModifiedBy>
  <cp:revision>2</cp:revision>
  <dcterms:created xsi:type="dcterms:W3CDTF">2023-11-13T09:11:29Z</dcterms:created>
  <dcterms:modified xsi:type="dcterms:W3CDTF">2024-05-14T08:5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741da7a-79c1-417c-b408-16c0bfe99fca_Enabled">
    <vt:lpwstr>true</vt:lpwstr>
  </property>
  <property fmtid="{D5CDD505-2E9C-101B-9397-08002B2CF9AE}" pid="3" name="MSIP_Label_3741da7a-79c1-417c-b408-16c0bfe99fca_SetDate">
    <vt:lpwstr>2023-11-13T10:14:00Z</vt:lpwstr>
  </property>
  <property fmtid="{D5CDD505-2E9C-101B-9397-08002B2CF9AE}" pid="4" name="MSIP_Label_3741da7a-79c1-417c-b408-16c0bfe99fca_Method">
    <vt:lpwstr>Standard</vt:lpwstr>
  </property>
  <property fmtid="{D5CDD505-2E9C-101B-9397-08002B2CF9AE}" pid="5" name="MSIP_Label_3741da7a-79c1-417c-b408-16c0bfe99fca_Name">
    <vt:lpwstr>Internal Only - Amber</vt:lpwstr>
  </property>
  <property fmtid="{D5CDD505-2E9C-101B-9397-08002B2CF9AE}" pid="6" name="MSIP_Label_3741da7a-79c1-417c-b408-16c0bfe99fca_SiteId">
    <vt:lpwstr>1e355c04-e0a4-42ed-8e2d-7351591f0ef1</vt:lpwstr>
  </property>
  <property fmtid="{D5CDD505-2E9C-101B-9397-08002B2CF9AE}" pid="7" name="MSIP_Label_3741da7a-79c1-417c-b408-16c0bfe99fca_ActionId">
    <vt:lpwstr>fad370c1-8eea-4d51-ac7e-42b7e12071e9</vt:lpwstr>
  </property>
  <property fmtid="{D5CDD505-2E9C-101B-9397-08002B2CF9AE}" pid="8" name="MSIP_Label_3741da7a-79c1-417c-b408-16c0bfe99fca_ContentBits">
    <vt:lpwstr>0</vt:lpwstr>
  </property>
  <property fmtid="{D5CDD505-2E9C-101B-9397-08002B2CF9AE}" pid="9" name="ContentTypeId">
    <vt:lpwstr>0x0101004358C02EFC5FF140B51ED7CAA4C0A323</vt:lpwstr>
  </property>
  <property fmtid="{D5CDD505-2E9C-101B-9397-08002B2CF9AE}" pid="10" name="MediaServiceImageTags">
    <vt:lpwstr/>
  </property>
</Properties>
</file>